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60"/>
  </p:notesMasterIdLst>
  <p:sldIdLst>
    <p:sldId id="258" r:id="rId2"/>
    <p:sldId id="349" r:id="rId3"/>
    <p:sldId id="418" r:id="rId4"/>
    <p:sldId id="419" r:id="rId5"/>
    <p:sldId id="420" r:id="rId6"/>
    <p:sldId id="354" r:id="rId7"/>
    <p:sldId id="352" r:id="rId8"/>
    <p:sldId id="353" r:id="rId9"/>
    <p:sldId id="416" r:id="rId10"/>
    <p:sldId id="359" r:id="rId11"/>
    <p:sldId id="362" r:id="rId12"/>
    <p:sldId id="363" r:id="rId13"/>
    <p:sldId id="361" r:id="rId14"/>
    <p:sldId id="365" r:id="rId15"/>
    <p:sldId id="366" r:id="rId16"/>
    <p:sldId id="368" r:id="rId17"/>
    <p:sldId id="364" r:id="rId18"/>
    <p:sldId id="369" r:id="rId19"/>
    <p:sldId id="370" r:id="rId20"/>
    <p:sldId id="371" r:id="rId21"/>
    <p:sldId id="372" r:id="rId22"/>
    <p:sldId id="373" r:id="rId23"/>
    <p:sldId id="355" r:id="rId24"/>
    <p:sldId id="374" r:id="rId25"/>
    <p:sldId id="417" r:id="rId26"/>
    <p:sldId id="375" r:id="rId27"/>
    <p:sldId id="376" r:id="rId28"/>
    <p:sldId id="377" r:id="rId29"/>
    <p:sldId id="382" r:id="rId30"/>
    <p:sldId id="383" r:id="rId31"/>
    <p:sldId id="384" r:id="rId32"/>
    <p:sldId id="386" r:id="rId33"/>
    <p:sldId id="381" r:id="rId34"/>
    <p:sldId id="426" r:id="rId35"/>
    <p:sldId id="427" r:id="rId36"/>
    <p:sldId id="387" r:id="rId37"/>
    <p:sldId id="428" r:id="rId38"/>
    <p:sldId id="429" r:id="rId39"/>
    <p:sldId id="430" r:id="rId40"/>
    <p:sldId id="389" r:id="rId41"/>
    <p:sldId id="394" r:id="rId42"/>
    <p:sldId id="431" r:id="rId43"/>
    <p:sldId id="388" r:id="rId44"/>
    <p:sldId id="391" r:id="rId45"/>
    <p:sldId id="413" r:id="rId46"/>
    <p:sldId id="411" r:id="rId47"/>
    <p:sldId id="412" r:id="rId48"/>
    <p:sldId id="432" r:id="rId49"/>
    <p:sldId id="433" r:id="rId50"/>
    <p:sldId id="399" r:id="rId51"/>
    <p:sldId id="400" r:id="rId52"/>
    <p:sldId id="423" r:id="rId53"/>
    <p:sldId id="424" r:id="rId54"/>
    <p:sldId id="425" r:id="rId55"/>
    <p:sldId id="410" r:id="rId56"/>
    <p:sldId id="350" r:id="rId57"/>
    <p:sldId id="351" r:id="rId58"/>
    <p:sldId id="434" r:id="rId59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279" autoAdjust="0"/>
    <p:restoredTop sz="82745" autoAdjust="0"/>
  </p:normalViewPr>
  <p:slideViewPr>
    <p:cSldViewPr snapToGrid="0">
      <p:cViewPr varScale="1">
        <p:scale>
          <a:sx n="57" d="100"/>
          <a:sy n="57" d="100"/>
        </p:scale>
        <p:origin x="848" y="3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s-fil01.lio.se\CIFS.HOMEDIR\RPO\Riktlinjer%20ADHD%20Autism\Prevalens%20Unika%20individer%20ADHD%20och%20autism%20Region%20&#214;sterg&#246;tland_RKL%202019-2021_BI%20&#229;tg&#228;rdad%20221025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\\s-fil01.lio.se\CIFS.HOMEDIR\RPO\Riktlinjer%20ADHD%20Autism\Prevalens%20Unika%20individer%20ADHD%20och%20autism%20Region%20&#214;sterg&#246;tland_RKL%202019-2021_BI%20&#229;tg&#228;rdad%20221025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F </a:t>
            </a:r>
            <a:r>
              <a:rPr lang="en-US" dirty="0" smtClean="0"/>
              <a:t>841</a:t>
            </a:r>
            <a:r>
              <a:rPr lang="en-US" baseline="0" dirty="0" smtClean="0"/>
              <a:t> </a:t>
            </a:r>
            <a:r>
              <a:rPr lang="en-US" dirty="0" err="1"/>
              <a:t>Aspergers</a:t>
            </a:r>
            <a:r>
              <a:rPr lang="en-US" dirty="0"/>
              <a:t> </a:t>
            </a:r>
            <a:r>
              <a:rPr lang="en-US" dirty="0" err="1"/>
              <a:t>syndrom</a:t>
            </a:r>
            <a:endParaRPr lang="en-US" dirty="0"/>
          </a:p>
        </c:rich>
      </c:tx>
      <c:layout>
        <c:manualLayout>
          <c:xMode val="edge"/>
          <c:yMode val="edge"/>
          <c:x val="0.37149118562211975"/>
          <c:y val="2.394891714829683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v-SE"/>
        </a:p>
      </c:txPr>
    </c:title>
    <c:autoTitleDeleted val="0"/>
    <c:plotArea>
      <c:layout>
        <c:manualLayout>
          <c:layoutTarget val="inner"/>
          <c:xMode val="edge"/>
          <c:yMode val="edge"/>
          <c:x val="5.7323975030621983E-2"/>
          <c:y val="8.4120571483392623E-2"/>
          <c:w val="0.91562511107581834"/>
          <c:h val="0.7611783810107716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Blad1!$W$67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Blad1!$V$68:$V$70</c:f>
              <c:strCache>
                <c:ptCount val="3"/>
                <c:pt idx="0">
                  <c:v>RJL</c:v>
                </c:pt>
                <c:pt idx="1">
                  <c:v>RKL</c:v>
                </c:pt>
                <c:pt idx="2">
                  <c:v>RÖ</c:v>
                </c:pt>
              </c:strCache>
            </c:strRef>
          </c:cat>
          <c:val>
            <c:numRef>
              <c:f>Blad1!$W$68:$W$70</c:f>
              <c:numCache>
                <c:formatCode>#\ ###</c:formatCode>
                <c:ptCount val="3"/>
                <c:pt idx="0">
                  <c:v>4865</c:v>
                </c:pt>
                <c:pt idx="1">
                  <c:v>3973</c:v>
                </c:pt>
                <c:pt idx="2">
                  <c:v>80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6FB-4FEC-8EA4-0FAE8006C16F}"/>
            </c:ext>
          </c:extLst>
        </c:ser>
        <c:ser>
          <c:idx val="1"/>
          <c:order val="1"/>
          <c:tx>
            <c:strRef>
              <c:f>Blad1!$X$67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Blad1!$V$68:$V$70</c:f>
              <c:strCache>
                <c:ptCount val="3"/>
                <c:pt idx="0">
                  <c:v>RJL</c:v>
                </c:pt>
                <c:pt idx="1">
                  <c:v>RKL</c:v>
                </c:pt>
                <c:pt idx="2">
                  <c:v>RÖ</c:v>
                </c:pt>
              </c:strCache>
            </c:strRef>
          </c:cat>
          <c:val>
            <c:numRef>
              <c:f>Blad1!$X$68:$X$70</c:f>
              <c:numCache>
                <c:formatCode>#\ ###</c:formatCode>
                <c:ptCount val="3"/>
                <c:pt idx="0">
                  <c:v>5886</c:v>
                </c:pt>
                <c:pt idx="1">
                  <c:v>4317</c:v>
                </c:pt>
                <c:pt idx="2">
                  <c:v>87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6FB-4FEC-8EA4-0FAE8006C16F}"/>
            </c:ext>
          </c:extLst>
        </c:ser>
        <c:ser>
          <c:idx val="2"/>
          <c:order val="2"/>
          <c:tx>
            <c:strRef>
              <c:f>Blad1!$Y$67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Blad1!$V$68:$V$70</c:f>
              <c:strCache>
                <c:ptCount val="3"/>
                <c:pt idx="0">
                  <c:v>RJL</c:v>
                </c:pt>
                <c:pt idx="1">
                  <c:v>RKL</c:v>
                </c:pt>
                <c:pt idx="2">
                  <c:v>RÖ</c:v>
                </c:pt>
              </c:strCache>
            </c:strRef>
          </c:cat>
          <c:val>
            <c:numRef>
              <c:f>Blad1!$Y$68:$Y$70</c:f>
              <c:numCache>
                <c:formatCode>#\ ###</c:formatCode>
                <c:ptCount val="3"/>
                <c:pt idx="0">
                  <c:v>7014</c:v>
                </c:pt>
                <c:pt idx="1">
                  <c:v>4909</c:v>
                </c:pt>
                <c:pt idx="2">
                  <c:v>98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FB-4FEC-8EA4-0FAE8006C1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83923344"/>
        <c:axId val="583923016"/>
      </c:barChart>
      <c:catAx>
        <c:axId val="5839233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583923016"/>
        <c:crosses val="autoZero"/>
        <c:auto val="1"/>
        <c:lblAlgn val="ctr"/>
        <c:lblOffset val="100"/>
        <c:noMultiLvlLbl val="0"/>
      </c:catAx>
      <c:valAx>
        <c:axId val="5839230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\ ###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5839233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sv-S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F 90 ADHD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v-SE"/>
        </a:p>
      </c:txPr>
    </c:title>
    <c:autoTitleDeleted val="0"/>
    <c:plotArea>
      <c:layout>
        <c:manualLayout>
          <c:layoutTarget val="inner"/>
          <c:xMode val="edge"/>
          <c:yMode val="edge"/>
          <c:x val="6.1333639661090109E-2"/>
          <c:y val="0.19433494617203212"/>
          <c:w val="0.91037281480398502"/>
          <c:h val="0.7397076484437170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Blad1!$W$67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Blad1!$V$68:$V$70</c:f>
              <c:strCache>
                <c:ptCount val="3"/>
                <c:pt idx="0">
                  <c:v>RJL</c:v>
                </c:pt>
                <c:pt idx="1">
                  <c:v>RKL</c:v>
                </c:pt>
                <c:pt idx="2">
                  <c:v>RÖ</c:v>
                </c:pt>
              </c:strCache>
            </c:strRef>
          </c:cat>
          <c:val>
            <c:numRef>
              <c:f>Blad1!$W$68:$W$70</c:f>
              <c:numCache>
                <c:formatCode>#\ ###</c:formatCode>
                <c:ptCount val="3"/>
                <c:pt idx="0">
                  <c:v>4865</c:v>
                </c:pt>
                <c:pt idx="1">
                  <c:v>3973</c:v>
                </c:pt>
                <c:pt idx="2">
                  <c:v>80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57C-46F5-9D77-AFDF8E398291}"/>
            </c:ext>
          </c:extLst>
        </c:ser>
        <c:ser>
          <c:idx val="1"/>
          <c:order val="1"/>
          <c:tx>
            <c:strRef>
              <c:f>Blad1!$X$67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Blad1!$V$68:$V$70</c:f>
              <c:strCache>
                <c:ptCount val="3"/>
                <c:pt idx="0">
                  <c:v>RJL</c:v>
                </c:pt>
                <c:pt idx="1">
                  <c:v>RKL</c:v>
                </c:pt>
                <c:pt idx="2">
                  <c:v>RÖ</c:v>
                </c:pt>
              </c:strCache>
            </c:strRef>
          </c:cat>
          <c:val>
            <c:numRef>
              <c:f>Blad1!$X$68:$X$70</c:f>
              <c:numCache>
                <c:formatCode>#\ ###</c:formatCode>
                <c:ptCount val="3"/>
                <c:pt idx="0">
                  <c:v>5886</c:v>
                </c:pt>
                <c:pt idx="1">
                  <c:v>4317</c:v>
                </c:pt>
                <c:pt idx="2">
                  <c:v>87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57C-46F5-9D77-AFDF8E398291}"/>
            </c:ext>
          </c:extLst>
        </c:ser>
        <c:ser>
          <c:idx val="2"/>
          <c:order val="2"/>
          <c:tx>
            <c:strRef>
              <c:f>Blad1!$Y$67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Blad1!$V$68:$V$70</c:f>
              <c:strCache>
                <c:ptCount val="3"/>
                <c:pt idx="0">
                  <c:v>RJL</c:v>
                </c:pt>
                <c:pt idx="1">
                  <c:v>RKL</c:v>
                </c:pt>
                <c:pt idx="2">
                  <c:v>RÖ</c:v>
                </c:pt>
              </c:strCache>
            </c:strRef>
          </c:cat>
          <c:val>
            <c:numRef>
              <c:f>Blad1!$Y$68:$Y$70</c:f>
              <c:numCache>
                <c:formatCode>#\ ###</c:formatCode>
                <c:ptCount val="3"/>
                <c:pt idx="0">
                  <c:v>7014</c:v>
                </c:pt>
                <c:pt idx="1">
                  <c:v>4909</c:v>
                </c:pt>
                <c:pt idx="2">
                  <c:v>98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57C-46F5-9D77-AFDF8E3982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83923344"/>
        <c:axId val="583923016"/>
      </c:barChart>
      <c:catAx>
        <c:axId val="5839233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583923016"/>
        <c:crosses val="autoZero"/>
        <c:auto val="1"/>
        <c:lblAlgn val="ctr"/>
        <c:lblOffset val="100"/>
        <c:noMultiLvlLbl val="0"/>
      </c:catAx>
      <c:valAx>
        <c:axId val="5839230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\ ###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5839233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0489288971504573E-2"/>
          <c:y val="1.1860770851734046E-3"/>
          <c:w val="0.2345340942960091"/>
          <c:h val="9.427532774631067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sv-S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920C0F-8177-4507-8166-37FE76422FCE}" type="datetimeFigureOut">
              <a:rPr lang="sv-SE" smtClean="0"/>
              <a:t>2022-11-07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756406-F8C2-47E7-A555-BA87BCC03E51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423945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Platshållare för bildobjekt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7587" name="Platshållare för anteckninga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sv-SE" altLang="sv-SE" dirty="0" smtClean="0"/>
          </a:p>
        </p:txBody>
      </p:sp>
      <p:sp>
        <p:nvSpPr>
          <p:cNvPr id="67588" name="Platshållare för bildnumm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7E16EA-8B17-48ED-A35C-D393725C1ECB}" type="slidenum">
              <a:rPr kumimoji="0" lang="sv-SE" alt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sv-SE" altLang="sv-SE" sz="1200" b="0" i="0" u="none" strike="noStrike" kern="120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74320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756406-F8C2-47E7-A555-BA87BCC03E51}" type="slidenum">
              <a:rPr lang="sv-SE" smtClean="0"/>
              <a:t>1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6110712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756406-F8C2-47E7-A555-BA87BCC03E51}" type="slidenum">
              <a:rPr lang="sv-SE" smtClean="0"/>
              <a:t>1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7591988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756406-F8C2-47E7-A555-BA87BCC03E51}" type="slidenum">
              <a:rPr lang="sv-SE" smtClean="0"/>
              <a:t>2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6789041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756406-F8C2-47E7-A555-BA87BCC03E51}" type="slidenum">
              <a:rPr lang="sv-SE" smtClean="0"/>
              <a:t>2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7425271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756406-F8C2-47E7-A555-BA87BCC03E51}" type="slidenum">
              <a:rPr lang="sv-SE" smtClean="0"/>
              <a:t>2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1640258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756406-F8C2-47E7-A555-BA87BCC03E51}" type="slidenum">
              <a:rPr lang="sv-SE" smtClean="0"/>
              <a:t>2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1837680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r>
              <a:rPr lang="sv-SE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756406-F8C2-47E7-A555-BA87BCC03E51}" type="slidenum">
              <a:rPr lang="sv-SE" smtClean="0"/>
              <a:t>2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1487022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756406-F8C2-47E7-A555-BA87BCC03E51}" type="slidenum">
              <a:rPr lang="sv-SE" smtClean="0"/>
              <a:t>3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9637684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756406-F8C2-47E7-A555-BA87BCC03E51}" type="slidenum">
              <a:rPr lang="sv-SE" smtClean="0"/>
              <a:t>3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5755274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756406-F8C2-47E7-A555-BA87BCC03E51}" type="slidenum">
              <a:rPr lang="sv-SE" smtClean="0"/>
              <a:t>3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180476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756406-F8C2-47E7-A555-BA87BCC03E51}" type="slidenum">
              <a:rPr lang="sv-SE" smtClean="0"/>
              <a:t>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1888021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756406-F8C2-47E7-A555-BA87BCC03E51}" type="slidenum">
              <a:rPr lang="sv-SE" smtClean="0"/>
              <a:t>3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3220548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är det gäller att erbjuda mångsidiga intensiva beteendeinsatser (EIBI) till barn (0-5 år) med autism så sker detta i god utsträckning. </a:t>
            </a:r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756406-F8C2-47E7-A555-BA87BCC03E51}" type="slidenum">
              <a:rPr lang="sv-SE" smtClean="0"/>
              <a:t>3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833351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756406-F8C2-47E7-A555-BA87BCC03E51}" type="slidenum">
              <a:rPr lang="sv-SE" smtClean="0"/>
              <a:t>3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6788699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756406-F8C2-47E7-A555-BA87BCC03E51}" type="slidenum">
              <a:rPr lang="sv-SE" smtClean="0"/>
              <a:t>4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1589648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756406-F8C2-47E7-A555-BA87BCC03E51}" type="slidenum">
              <a:rPr lang="sv-SE" smtClean="0"/>
              <a:t>4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3923160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endParaRPr lang="sv-SE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756406-F8C2-47E7-A555-BA87BCC03E51}" type="slidenum">
              <a:rPr lang="sv-SE" smtClean="0"/>
              <a:t>4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3160916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sv-SE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756406-F8C2-47E7-A555-BA87BCC03E51}" type="slidenum">
              <a:rPr lang="sv-SE" smtClean="0"/>
              <a:t>4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9644420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 smtClean="0"/>
          </a:p>
          <a:p>
            <a:endParaRPr lang="sv-SE" dirty="0" smtClean="0"/>
          </a:p>
          <a:p>
            <a:endParaRPr lang="sv-SE" baseline="0" dirty="0" smtClean="0"/>
          </a:p>
          <a:p>
            <a:endParaRPr lang="sv-SE" baseline="0" dirty="0" smtClean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756406-F8C2-47E7-A555-BA87BCC03E51}" type="slidenum">
              <a:rPr lang="sv-SE" smtClean="0"/>
              <a:t>4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0583784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756406-F8C2-47E7-A555-BA87BCC03E51}" type="slidenum">
              <a:rPr lang="sv-SE" smtClean="0"/>
              <a:t>4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4256881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756406-F8C2-47E7-A555-BA87BCC03E51}" type="slidenum">
              <a:rPr lang="sv-SE" smtClean="0"/>
              <a:t>5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985800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endParaRPr lang="sv-SE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756406-F8C2-47E7-A555-BA87BCC03E51}" type="slidenum">
              <a:rPr lang="sv-SE" smtClean="0"/>
              <a:t>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6164647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756406-F8C2-47E7-A555-BA87BCC03E51}" type="slidenum">
              <a:rPr lang="sv-SE" smtClean="0"/>
              <a:t>5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4413894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756406-F8C2-47E7-A555-BA87BCC03E51}" type="slidenum">
              <a:rPr lang="sv-SE" smtClean="0"/>
              <a:t>5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9109394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sz="1200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756406-F8C2-47E7-A555-BA87BCC03E51}" type="slidenum">
              <a:rPr lang="sv-SE" smtClean="0"/>
              <a:t>5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1041337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756406-F8C2-47E7-A555-BA87BCC03E51}" type="slidenum">
              <a:rPr lang="sv-SE" smtClean="0"/>
              <a:t>5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32787990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8AED3C7-0D5C-4288-AA1F-0653BA5DB7A6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6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034085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8AED3C7-0D5C-4288-AA1F-0653BA5DB7A6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7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29145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756406-F8C2-47E7-A555-BA87BCC03E51}" type="slidenum">
              <a:rPr lang="sv-SE" smtClean="0"/>
              <a:t>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387572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756406-F8C2-47E7-A555-BA87BCC03E51}" type="slidenum">
              <a:rPr lang="sv-SE" smtClean="0"/>
              <a:t>1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089993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756406-F8C2-47E7-A555-BA87BCC03E51}" type="slidenum">
              <a:rPr lang="sv-SE" smtClean="0"/>
              <a:t>1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350643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756406-F8C2-47E7-A555-BA87BCC03E51}" type="slidenum">
              <a:rPr lang="sv-SE" smtClean="0"/>
              <a:t>1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979405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756406-F8C2-47E7-A555-BA87BCC03E51}" type="slidenum">
              <a:rPr lang="sv-SE" smtClean="0"/>
              <a:t>1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8938105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756406-F8C2-47E7-A555-BA87BCC03E51}" type="slidenum">
              <a:rPr lang="sv-SE" smtClean="0"/>
              <a:t>1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855936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4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 smtClean="0"/>
              <a:t>Klicka här för att fylla i rubrik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7737583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475011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foto bak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r>
              <a:rPr lang="sv-SE" dirty="0" smtClean="0"/>
              <a:t>Klicka här för att lägg till en </a:t>
            </a:r>
            <a:r>
              <a:rPr lang="sv-SE" dirty="0" err="1" smtClean="0"/>
              <a:t>helsidebild</a:t>
            </a:r>
            <a:endParaRPr lang="sv-SE" dirty="0" smtClean="0"/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 smtClean="0"/>
              <a:t>Klicka här för att fylla i rubrik ovanpå bild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731354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blå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66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/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 smtClean="0"/>
              <a:t>Klicka här för att fylla i rubrik ovanpå bild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0352506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röd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/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 smtClean="0"/>
              <a:t>Klicka här för att fylla i rubrik ovanpå bild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9343277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/>
          </p:nvPr>
        </p:nvSpPr>
        <p:spPr>
          <a:xfrm>
            <a:off x="0" y="3432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endParaRPr lang="sv-SE" dirty="0" smtClean="0"/>
          </a:p>
        </p:txBody>
      </p:sp>
    </p:spTree>
    <p:extLst>
      <p:ext uri="{BB962C8B-B14F-4D97-AF65-F5344CB8AC3E}">
        <p14:creationId xmlns:p14="http://schemas.microsoft.com/office/powerpoint/2010/main" val="7882477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dirty="0" smtClean="0"/>
              <a:t>Klicka här för att fylla i rubrik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609600" y="2276874"/>
            <a:ext cx="10972800" cy="3744415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sv-SE" dirty="0" smtClean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3660465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09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 smtClean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7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 smtClean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24141138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23392" y="1028733"/>
            <a:ext cx="5376597" cy="1143000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 smtClean="0"/>
              <a:t>Klicka här för att ändra rubrik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09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 smtClean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7600" y="548682"/>
            <a:ext cx="5384800" cy="537659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 smtClean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41763668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5" y="1624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3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65" y="1624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00979" y="419361"/>
            <a:ext cx="11393620" cy="325159"/>
          </a:xfrm>
        </p:spPr>
        <p:txBody>
          <a:bodyPr/>
          <a:lstStyle>
            <a:lvl1pPr>
              <a:lnSpc>
                <a:spcPts val="2449"/>
              </a:lnSpc>
              <a:defRPr sz="224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1"/>
          </p:nvPr>
        </p:nvSpPr>
        <p:spPr>
          <a:xfrm>
            <a:off x="400979" y="1169457"/>
            <a:ext cx="11393620" cy="159382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/>
            <p:custDataLst>
              <p:tags r:id="rId3"/>
            </p:custDataLst>
          </p:nvPr>
        </p:nvSpPr>
        <p:spPr>
          <a:xfrm>
            <a:off x="399119" y="799153"/>
            <a:ext cx="9641736" cy="28272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837" i="0" dirty="0" smtClean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  <p:custDataLst>
              <p:tags r:id="rId4"/>
            </p:custDataLst>
          </p:nvPr>
        </p:nvSpPr>
        <p:spPr>
          <a:xfrm>
            <a:off x="399563" y="5902245"/>
            <a:ext cx="11577916" cy="510219"/>
          </a:xfrm>
        </p:spPr>
        <p:txBody>
          <a:bodyPr anchor="b" anchorCtr="0"/>
          <a:lstStyle>
            <a:lvl1pPr marL="0" indent="0" defTabSz="639692">
              <a:lnSpc>
                <a:spcPts val="919"/>
              </a:lnSpc>
              <a:spcAft>
                <a:spcPts val="0"/>
              </a:spcAft>
              <a:buNone/>
              <a:tabLst>
                <a:tab pos="479364" algn="r"/>
                <a:tab pos="639692" algn="l"/>
              </a:tabLst>
              <a:defRPr sz="102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28355" lvl="0" indent="-628355" defTabSz="639692">
              <a:lnSpc>
                <a:spcPts val="1020"/>
              </a:lnSpc>
              <a:spcAft>
                <a:spcPts val="0"/>
              </a:spcAft>
              <a:tabLst>
                <a:tab pos="479364" algn="r"/>
                <a:tab pos="639692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Not:	xxxxxx</a:t>
            </a:r>
          </a:p>
          <a:p>
            <a:pPr marL="628355" lvl="0" indent="-628355" defTabSz="639692">
              <a:lnSpc>
                <a:spcPts val="1020"/>
              </a:lnSpc>
              <a:spcAft>
                <a:spcPts val="0"/>
              </a:spcAft>
              <a:tabLst>
                <a:tab pos="479364" algn="r"/>
                <a:tab pos="639692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28355" lvl="0" indent="-628355" defTabSz="639692">
              <a:lnSpc>
                <a:spcPts val="1020"/>
              </a:lnSpc>
              <a:spcAft>
                <a:spcPts val="0"/>
              </a:spcAft>
              <a:tabLst>
                <a:tab pos="479364" algn="r"/>
                <a:tab pos="639692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020" dirty="0" err="1">
                <a:ea typeface="Verdana" pitchFamily="34" charset="0"/>
                <a:cs typeface="Verdana" pitchFamily="34" charset="0"/>
              </a:rPr>
              <a:t>xxxx</a:t>
            </a:r>
            <a:endParaRPr lang="sv-SE" sz="1020" dirty="0"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Platshållare för bildnummer 5"/>
          <p:cNvSpPr txBox="1">
            <a:spLocks/>
          </p:cNvSpPr>
          <p:nvPr userDrawn="1"/>
        </p:nvSpPr>
        <p:spPr>
          <a:xfrm>
            <a:off x="11136641" y="6533748"/>
            <a:ext cx="720000" cy="10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sv-SE"/>
            </a:defPPr>
            <a:lvl1pPr marL="0" algn="r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6C602A-63EE-46CF-AAA0-57BFED8B59D2}" type="slidenum">
              <a:rPr lang="en-GB" sz="800" smtClean="0"/>
              <a:pPr/>
              <a:t>‹#›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29132160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dirty="0" smtClean="0"/>
              <a:t>Klicka här för att fylla i rubrik</a:t>
            </a:r>
            <a:endParaRPr lang="sv-SE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2276874"/>
            <a:ext cx="10972800" cy="37444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dirty="0" smtClean="0"/>
              <a:t>Klicka här för att ändra texten</a:t>
            </a: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sv-SE" dirty="0" smtClean="0"/>
          </a:p>
        </p:txBody>
      </p:sp>
      <p:pic>
        <p:nvPicPr>
          <p:cNvPr id="1027" name="Bildobjekt 5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8128" y="6269121"/>
            <a:ext cx="1376603" cy="3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Bildobjekt 6" descr="Logotyp_Region_Kalmar_län_färg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0310" y="6173100"/>
            <a:ext cx="1035791" cy="4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" name="Bildobjekt 7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0352" y="6269121"/>
            <a:ext cx="1514267" cy="3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4"/>
          <p:cNvSpPr>
            <a:spLocks noChangeArrowheads="1"/>
          </p:cNvSpPr>
          <p:nvPr userDrawn="1"/>
        </p:nvSpPr>
        <p:spPr bwMode="auto">
          <a:xfrm>
            <a:off x="1" y="58580"/>
            <a:ext cx="246286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endParaRPr lang="sv-SE" sz="2400"/>
          </a:p>
        </p:txBody>
      </p:sp>
      <p:sp>
        <p:nvSpPr>
          <p:cNvPr id="9" name="Rectangle 5"/>
          <p:cNvSpPr>
            <a:spLocks noChangeArrowheads="1"/>
          </p:cNvSpPr>
          <p:nvPr userDrawn="1"/>
        </p:nvSpPr>
        <p:spPr bwMode="auto">
          <a:xfrm>
            <a:off x="5116036" y="1118585"/>
            <a:ext cx="1477328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altLang="sv-SE" sz="1333" b="0" i="0" u="none" strike="noStrike" cap="none" normalizeH="0" baseline="0" smtClean="0">
                <a:ln>
                  <a:noFill/>
                </a:ln>
                <a:solidFill>
                  <a:srgbClr val="7F7F7F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kumimoji="0" lang="sv-SE" altLang="sv-SE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5116036" y="1842484"/>
            <a:ext cx="1477328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altLang="sv-SE" sz="1333" b="0" i="0" u="none" strike="noStrike" cap="none" normalizeH="0" baseline="0" smtClean="0">
                <a:ln>
                  <a:noFill/>
                </a:ln>
                <a:solidFill>
                  <a:srgbClr val="7F7F7F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kumimoji="0" lang="sv-SE" altLang="sv-SE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ktangel 17"/>
          <p:cNvSpPr/>
          <p:nvPr userDrawn="1"/>
        </p:nvSpPr>
        <p:spPr>
          <a:xfrm>
            <a:off x="638239" y="6365068"/>
            <a:ext cx="2289409" cy="2974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sv-SE" sz="1333" dirty="0" smtClean="0">
                <a:solidFill>
                  <a:schemeClr val="tx1"/>
                </a:solidFill>
                <a:latin typeface="+mj-lt"/>
              </a:rPr>
              <a:t>Sydöstra sjukvårdsregionen</a:t>
            </a:r>
            <a:endParaRPr lang="sv-SE" sz="1467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031059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219170" rtl="0" eaLnBrk="1" latinLnBrk="0" hangingPunct="1">
        <a:spcBef>
          <a:spcPct val="0"/>
        </a:spcBef>
        <a:buNone/>
        <a:defRPr sz="5333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121917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Tx/>
        <a:buNone/>
        <a:tabLst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Jorgen.Bergstrom@regionostergotland.se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www.lanseringvipsydostra.se/aktuellt/" TargetMode="Externa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lanseringvipsydostra.se/aktuellt" TargetMode="Externa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vimeo.com/766839489" TargetMode="External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hyperlink" Target="mailto:jorgen.bergstrom@regionostergotland.se" TargetMode="External"/><Relationship Id="rId7" Type="http://schemas.openxmlformats.org/officeDocument/2006/relationships/hyperlink" Target="https://regionostergotland-se.zoom.us/j/85757135147?pwd=M1R2R2Y0UnZWTnh0Z2Y2MHhaclV0QT09" TargetMode="Externa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us02web.zoom.us/j/89395859014?pwd=eEh6eGhsR2VUbUNHRzdMTHZZUUNoQT09" TargetMode="External"/><Relationship Id="rId5" Type="http://schemas.openxmlformats.org/officeDocument/2006/relationships/hyperlink" Target="https://regionostergotland-se.zoom.us/j/89077228302?pwd=eUFFandYRmxGNEt4aERsY2FGSzhSUT09" TargetMode="External"/><Relationship Id="rId4" Type="http://schemas.openxmlformats.org/officeDocument/2006/relationships/hyperlink" Target="https://regionostergotland-se.zoom.us/j/82339883191?pwd=bFAzWGExaW9WblVURE1CdE1lYzBjZz09" TargetMode="Externa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hyperlink" Target="mailto:jorgen.bergstrom@regionostergotland.se" TargetMode="External"/><Relationship Id="rId7" Type="http://schemas.openxmlformats.org/officeDocument/2006/relationships/hyperlink" Target="https://regionostergotland-se.zoom.us/j/85757135147?pwd=M1R2R2Y0UnZWTnh0Z2Y2MHhaclV0QT09" TargetMode="External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us02web.zoom.us/j/89395859014?pwd=eEh6eGhsR2VUbUNHRzdMTHZZUUNoQT09" TargetMode="External"/><Relationship Id="rId5" Type="http://schemas.openxmlformats.org/officeDocument/2006/relationships/hyperlink" Target="https://regionostergotland-se.zoom.us/j/89077228302?pwd=eUFFandYRmxGNEt4aERsY2FGSzhSUT09" TargetMode="External"/><Relationship Id="rId4" Type="http://schemas.openxmlformats.org/officeDocument/2006/relationships/hyperlink" Target="https://us02web.zoom.us/j/86597602450?pwd=VWlSSzBkc2tsSzFLZ2VaY3BjUG5rQT09" TargetMode="Externa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lanseringvipsydostra.se/aktuellt" TargetMode="Externa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lanseringvipsydostra.se/aktuellt" TargetMode="Externa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ubrik 1"/>
          <p:cNvSpPr>
            <a:spLocks noGrp="1"/>
          </p:cNvSpPr>
          <p:nvPr>
            <p:ph type="title"/>
          </p:nvPr>
        </p:nvSpPr>
        <p:spPr>
          <a:xfrm>
            <a:off x="374072" y="1747880"/>
            <a:ext cx="11513128" cy="3033409"/>
          </a:xfrm>
        </p:spPr>
        <p:txBody>
          <a:bodyPr>
            <a:noAutofit/>
          </a:bodyPr>
          <a:lstStyle/>
          <a:p>
            <a:r>
              <a:rPr lang="sv-SE" sz="4400" dirty="0" smtClean="0"/>
              <a:t>Sjukvårdsregionalt kunskapsseminarium</a:t>
            </a:r>
            <a:br>
              <a:rPr lang="sv-SE" sz="4400" dirty="0" smtClean="0"/>
            </a:br>
            <a:r>
              <a:rPr lang="sv-SE" altLang="sv-SE" sz="4400" dirty="0" smtClean="0"/>
              <a:t/>
            </a:r>
            <a:br>
              <a:rPr lang="sv-SE" altLang="sv-SE" sz="4400" dirty="0" smtClean="0"/>
            </a:br>
            <a:r>
              <a:rPr lang="sv-SE" altLang="sv-SE" sz="4400" dirty="0" smtClean="0"/>
              <a:t>Nationella riktlinjer ADHD &amp; Autism</a:t>
            </a:r>
            <a:br>
              <a:rPr lang="sv-SE" altLang="sv-SE" sz="4400" dirty="0" smtClean="0"/>
            </a:br>
            <a:r>
              <a:rPr lang="sv-SE" altLang="sv-SE" sz="4400" dirty="0"/>
              <a:t/>
            </a:r>
            <a:br>
              <a:rPr lang="sv-SE" altLang="sv-SE" sz="4400" dirty="0"/>
            </a:br>
            <a:r>
              <a:rPr lang="sv-SE" altLang="sv-SE" sz="2400" dirty="0" smtClean="0"/>
              <a:t>Jörgen Bergström - processtödjande roll gentemot RPO psykisk hälsa</a:t>
            </a:r>
            <a:br>
              <a:rPr lang="sv-SE" altLang="sv-SE" sz="2400" dirty="0" smtClean="0"/>
            </a:br>
            <a:r>
              <a:rPr lang="sv-SE" altLang="sv-SE" sz="2400" dirty="0" smtClean="0"/>
              <a:t>Jenny Olofsson - </a:t>
            </a:r>
            <a:r>
              <a:rPr lang="sv-SE" altLang="sv-SE" sz="2400" dirty="0"/>
              <a:t>processtödjande roll gentemot RPO psykisk hälsa</a:t>
            </a:r>
            <a:r>
              <a:rPr lang="sv-SE" altLang="sv-SE" sz="2400" dirty="0" smtClean="0"/>
              <a:t>   </a:t>
            </a:r>
            <a:endParaRPr lang="sv-SE" altLang="sv-SE" sz="2400" dirty="0"/>
          </a:p>
        </p:txBody>
      </p:sp>
      <p:sp>
        <p:nvSpPr>
          <p:cNvPr id="2" name="textruta 1"/>
          <p:cNvSpPr txBox="1"/>
          <p:nvPr/>
        </p:nvSpPr>
        <p:spPr>
          <a:xfrm>
            <a:off x="3564466" y="237067"/>
            <a:ext cx="116005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>
                <a:hlinkClick r:id="rId3"/>
              </a:rPr>
              <a:t>Jorgen.Bergstrom@regionostergotland.se</a:t>
            </a:r>
            <a:r>
              <a:rPr lang="sv-SE" dirty="0" smtClean="0"/>
              <a:t> </a:t>
            </a:r>
            <a:r>
              <a:rPr lang="sv-SE" dirty="0" smtClean="0">
                <a:hlinkClick r:id="rId4"/>
              </a:rPr>
              <a:t>https</a:t>
            </a:r>
            <a:r>
              <a:rPr lang="sv-SE" dirty="0">
                <a:hlinkClick r:id="rId4"/>
              </a:rPr>
              <a:t>://www.lanseringvipsydostra.se/aktuellt/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4063157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 smtClean="0"/>
              <a:t>GAP analys regioner: Tidiga insatser och neuropsykiatriska utredningar </a:t>
            </a:r>
            <a:endParaRPr lang="sv-SE" sz="32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noFill/>
        </p:spPr>
        <p:txBody>
          <a:bodyPr>
            <a:normAutofit/>
          </a:bodyPr>
          <a:lstStyle/>
          <a:p>
            <a:r>
              <a:rPr lang="sv-SE" sz="1600" dirty="0" smtClean="0"/>
              <a:t>Inkluderar våra neuropsykiatriska utredningar följande grundprinciper när det gäller barn/vuxna. </a:t>
            </a:r>
            <a:endParaRPr lang="sv-SE" sz="1600" dirty="0"/>
          </a:p>
          <a:p>
            <a:endParaRPr lang="sv-SE" sz="1100" dirty="0" smtClean="0"/>
          </a:p>
          <a:p>
            <a:r>
              <a:rPr lang="sv-SE" sz="1100" dirty="0" smtClean="0"/>
              <a:t>Anpassas </a:t>
            </a:r>
            <a:r>
              <a:rPr lang="sv-SE" sz="1100" dirty="0"/>
              <a:t>efter individens behov, symtom och </a:t>
            </a:r>
            <a:r>
              <a:rPr lang="sv-SE" sz="1100" dirty="0" smtClean="0"/>
              <a:t>förutsättningar:</a:t>
            </a:r>
          </a:p>
          <a:p>
            <a:endParaRPr lang="sv-SE" sz="1100" dirty="0" smtClean="0"/>
          </a:p>
          <a:p>
            <a:r>
              <a:rPr lang="sv-SE" sz="1100" dirty="0" smtClean="0"/>
              <a:t>Utförs tvärprofessionellt:</a:t>
            </a:r>
          </a:p>
          <a:p>
            <a:endParaRPr lang="sv-SE" sz="1100" dirty="0" smtClean="0"/>
          </a:p>
          <a:p>
            <a:r>
              <a:rPr lang="sv-SE" sz="1100" dirty="0" smtClean="0"/>
              <a:t>Sker </a:t>
            </a:r>
            <a:r>
              <a:rPr lang="sv-SE" sz="1100" dirty="0"/>
              <a:t>sammanhållet och med kontinuitet i tid och </a:t>
            </a:r>
            <a:r>
              <a:rPr lang="sv-SE" sz="1100" dirty="0" smtClean="0"/>
              <a:t>plats:</a:t>
            </a:r>
          </a:p>
          <a:p>
            <a:endParaRPr lang="sv-SE" sz="1100" dirty="0"/>
          </a:p>
          <a:p>
            <a:r>
              <a:rPr lang="sv-SE" sz="1100" dirty="0"/>
              <a:t>Har en bred </a:t>
            </a:r>
            <a:r>
              <a:rPr lang="sv-SE" sz="1100" dirty="0" smtClean="0"/>
              <a:t>diagnostisk </a:t>
            </a:r>
            <a:r>
              <a:rPr lang="sv-SE" sz="1100" dirty="0"/>
              <a:t>ansats och utgår från en fullständig </a:t>
            </a:r>
            <a:r>
              <a:rPr lang="sv-SE" sz="1100" dirty="0" smtClean="0"/>
              <a:t>anamnes:</a:t>
            </a:r>
          </a:p>
          <a:p>
            <a:endParaRPr lang="sv-SE" sz="1100" dirty="0" smtClean="0"/>
          </a:p>
          <a:p>
            <a:r>
              <a:rPr lang="sv-SE" sz="1100" dirty="0" smtClean="0"/>
              <a:t>Inkluderar </a:t>
            </a:r>
            <a:r>
              <a:rPr lang="sv-SE" sz="1100" dirty="0"/>
              <a:t>en funktions- och </a:t>
            </a:r>
            <a:r>
              <a:rPr lang="sv-SE" sz="1100" dirty="0" smtClean="0"/>
              <a:t>aktivitetsbedömning:</a:t>
            </a:r>
          </a:p>
          <a:p>
            <a:endParaRPr lang="sv-SE" sz="1100" dirty="0"/>
          </a:p>
          <a:p>
            <a:r>
              <a:rPr lang="sv-SE" sz="1100" dirty="0"/>
              <a:t>Resulterar i en åtgärdsplan </a:t>
            </a:r>
            <a:r>
              <a:rPr lang="sv-SE" sz="1100" dirty="0" smtClean="0"/>
              <a:t>för </a:t>
            </a:r>
            <a:r>
              <a:rPr lang="sv-SE" sz="1100" dirty="0"/>
              <a:t>insatser och </a:t>
            </a:r>
            <a:r>
              <a:rPr lang="sv-SE" sz="1100" dirty="0" smtClean="0"/>
              <a:t>uppföljning:</a:t>
            </a:r>
          </a:p>
          <a:p>
            <a:endParaRPr lang="sv-SE" sz="1100" dirty="0"/>
          </a:p>
          <a:p>
            <a:r>
              <a:rPr lang="sv-SE" sz="1200" dirty="0"/>
              <a:t>Hur ofta genomförs neuropsykiatriska utredningar enligt samtliga fastställda grundprinciper?</a:t>
            </a:r>
          </a:p>
        </p:txBody>
      </p:sp>
    </p:spTree>
    <p:extLst>
      <p:ext uri="{BB962C8B-B14F-4D97-AF65-F5344CB8AC3E}">
        <p14:creationId xmlns:p14="http://schemas.microsoft.com/office/powerpoint/2010/main" val="1120844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 smtClean="0"/>
              <a:t>GAP analys regioner: Tidiga insatser och neuropsykiatriska utredningar </a:t>
            </a:r>
            <a:endParaRPr lang="sv-SE" sz="32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noFill/>
        </p:spPr>
        <p:txBody>
          <a:bodyPr>
            <a:normAutofit fontScale="92500" lnSpcReduction="10000"/>
          </a:bodyPr>
          <a:lstStyle/>
          <a:p>
            <a:r>
              <a:rPr lang="sv-SE" sz="2100" dirty="0"/>
              <a:t>Erbjuder er verksamhet tidiga insatser för </a:t>
            </a:r>
            <a:r>
              <a:rPr lang="sv-SE" sz="2100" b="1" dirty="0" smtClean="0"/>
              <a:t>barn</a:t>
            </a:r>
            <a:r>
              <a:rPr lang="sv-SE" sz="2100" dirty="0" smtClean="0"/>
              <a:t> med </a:t>
            </a:r>
            <a:r>
              <a:rPr lang="sv-SE" sz="2100" dirty="0"/>
              <a:t>misstänkt neuropsykiatrisk funktionsnedsättning</a:t>
            </a:r>
            <a:r>
              <a:rPr lang="sv-SE" sz="2100" dirty="0" smtClean="0"/>
              <a:t>?</a:t>
            </a:r>
          </a:p>
          <a:p>
            <a:endParaRPr lang="sv-SE" sz="2100" dirty="0" smtClean="0"/>
          </a:p>
          <a:p>
            <a:endParaRPr lang="sv-SE" sz="2100" dirty="0"/>
          </a:p>
          <a:p>
            <a:r>
              <a:rPr lang="sv-SE" sz="2100" dirty="0"/>
              <a:t>Erbjuder er verksamhet tidiga insatser för </a:t>
            </a:r>
            <a:r>
              <a:rPr lang="sv-SE" sz="2100" b="1" dirty="0" smtClean="0"/>
              <a:t>vuxna</a:t>
            </a:r>
            <a:r>
              <a:rPr lang="sv-SE" sz="2100" dirty="0" smtClean="0"/>
              <a:t> </a:t>
            </a:r>
            <a:r>
              <a:rPr lang="sv-SE" sz="2100" dirty="0"/>
              <a:t>med misstänkt neuropsykiatrisk funktionsnedsättning?</a:t>
            </a:r>
          </a:p>
          <a:p>
            <a:endParaRPr lang="sv-SE" sz="2100" dirty="0" smtClean="0"/>
          </a:p>
          <a:p>
            <a:endParaRPr lang="sv-SE" sz="2100" dirty="0"/>
          </a:p>
          <a:p>
            <a:endParaRPr lang="sv-SE" sz="2100" dirty="0" smtClean="0"/>
          </a:p>
          <a:p>
            <a:endParaRPr lang="sv-SE" sz="2100" dirty="0"/>
          </a:p>
          <a:p>
            <a:r>
              <a:rPr lang="sv-SE" sz="1300" dirty="0"/>
              <a:t>Exempel på tidiga insatser är stöd från elevhälsan eller arbetsgivaren, anpassning av vardagsmiljön samt föräldraskapsstöd och andra insatser från hälso- och sjukvården och socialtjänsten </a:t>
            </a:r>
          </a:p>
          <a:p>
            <a:endParaRPr lang="sv-SE" sz="1400" dirty="0"/>
          </a:p>
          <a:p>
            <a:endParaRPr lang="sv-SE" sz="1600" dirty="0" smtClean="0"/>
          </a:p>
          <a:p>
            <a:endParaRPr lang="sv-SE" sz="1600" dirty="0"/>
          </a:p>
        </p:txBody>
      </p:sp>
    </p:spTree>
    <p:extLst>
      <p:ext uri="{BB962C8B-B14F-4D97-AF65-F5344CB8AC3E}">
        <p14:creationId xmlns:p14="http://schemas.microsoft.com/office/powerpoint/2010/main" val="1310471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1291800" cy="1143000"/>
          </a:xfrm>
        </p:spPr>
        <p:txBody>
          <a:bodyPr>
            <a:normAutofit/>
          </a:bodyPr>
          <a:lstStyle/>
          <a:p>
            <a:r>
              <a:rPr lang="sv-SE" sz="3200" dirty="0" smtClean="0"/>
              <a:t>GAP analys socialtjänst: Tidiga insatser och neuropsykiatriska utredningar </a:t>
            </a:r>
            <a:endParaRPr lang="sv-SE" sz="32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noFill/>
        </p:spPr>
        <p:txBody>
          <a:bodyPr>
            <a:normAutofit fontScale="92500" lnSpcReduction="10000"/>
          </a:bodyPr>
          <a:lstStyle/>
          <a:p>
            <a:r>
              <a:rPr lang="sv-SE" sz="2100" dirty="0"/>
              <a:t>Erbjuder er verksamhet tidiga insatser för </a:t>
            </a:r>
            <a:r>
              <a:rPr lang="sv-SE" sz="2100" b="1" dirty="0" smtClean="0"/>
              <a:t>barn</a:t>
            </a:r>
            <a:r>
              <a:rPr lang="sv-SE" sz="2100" dirty="0" smtClean="0"/>
              <a:t> med </a:t>
            </a:r>
            <a:r>
              <a:rPr lang="sv-SE" sz="2100" dirty="0"/>
              <a:t>misstänkt neuropsykiatrisk funktionsnedsättning</a:t>
            </a:r>
            <a:r>
              <a:rPr lang="sv-SE" sz="2100" dirty="0" smtClean="0"/>
              <a:t>?</a:t>
            </a:r>
          </a:p>
          <a:p>
            <a:endParaRPr lang="sv-SE" sz="2100" dirty="0" smtClean="0"/>
          </a:p>
          <a:p>
            <a:endParaRPr lang="sv-SE" sz="2100" dirty="0"/>
          </a:p>
          <a:p>
            <a:r>
              <a:rPr lang="sv-SE" sz="2100" dirty="0"/>
              <a:t>Erbjuder er verksamhet tidiga insatser för </a:t>
            </a:r>
            <a:r>
              <a:rPr lang="sv-SE" sz="2100" b="1" dirty="0" smtClean="0"/>
              <a:t>vuxna</a:t>
            </a:r>
            <a:r>
              <a:rPr lang="sv-SE" sz="2100" dirty="0" smtClean="0"/>
              <a:t> </a:t>
            </a:r>
            <a:r>
              <a:rPr lang="sv-SE" sz="2100" dirty="0"/>
              <a:t>med misstänkt neuropsykiatrisk funktionsnedsättning?</a:t>
            </a:r>
          </a:p>
          <a:p>
            <a:endParaRPr lang="sv-SE" sz="2100" dirty="0" smtClean="0"/>
          </a:p>
          <a:p>
            <a:endParaRPr lang="sv-SE" sz="2100" dirty="0"/>
          </a:p>
          <a:p>
            <a:endParaRPr lang="sv-SE" sz="2100" dirty="0" smtClean="0"/>
          </a:p>
          <a:p>
            <a:endParaRPr lang="sv-SE" sz="2100" dirty="0"/>
          </a:p>
          <a:p>
            <a:r>
              <a:rPr lang="sv-SE" sz="1300" dirty="0"/>
              <a:t>Exempel på tidiga insatser är stöd från elevhälsan eller arbetsgivaren, anpassning av vardagsmiljön samt föräldraskapsstöd och andra insatser från hälso- och sjukvården och socialtjänsten </a:t>
            </a:r>
          </a:p>
          <a:p>
            <a:endParaRPr lang="sv-SE" sz="1400" dirty="0"/>
          </a:p>
          <a:p>
            <a:endParaRPr lang="sv-SE" sz="1600" dirty="0" smtClean="0"/>
          </a:p>
          <a:p>
            <a:endParaRPr lang="sv-SE" sz="1600" dirty="0"/>
          </a:p>
        </p:txBody>
      </p:sp>
    </p:spTree>
    <p:extLst>
      <p:ext uri="{BB962C8B-B14F-4D97-AF65-F5344CB8AC3E}">
        <p14:creationId xmlns:p14="http://schemas.microsoft.com/office/powerpoint/2010/main" val="2608807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 smtClean="0"/>
              <a:t>GAP analys regioner: Tidiga insatser och neuropsykiatriska utredningar </a:t>
            </a:r>
            <a:endParaRPr lang="sv-SE" sz="32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noFill/>
        </p:spPr>
        <p:txBody>
          <a:bodyPr>
            <a:normAutofit/>
          </a:bodyPr>
          <a:lstStyle/>
          <a:p>
            <a:r>
              <a:rPr lang="sv-SE" sz="2300" dirty="0" smtClean="0"/>
              <a:t>Ställer vi </a:t>
            </a:r>
            <a:r>
              <a:rPr lang="sv-SE" sz="2300" dirty="0" err="1" smtClean="0"/>
              <a:t>adhd</a:t>
            </a:r>
            <a:r>
              <a:rPr lang="sv-SE" sz="2300" dirty="0" smtClean="0"/>
              <a:t>-diagnos </a:t>
            </a:r>
            <a:r>
              <a:rPr lang="sv-SE" sz="2300" dirty="0"/>
              <a:t>enbart med hjälp av datoriserade uppmärksamhetstester för </a:t>
            </a:r>
            <a:r>
              <a:rPr lang="sv-SE" sz="2300" b="1" dirty="0" smtClean="0"/>
              <a:t>barn?</a:t>
            </a:r>
          </a:p>
          <a:p>
            <a:endParaRPr lang="sv-SE" sz="2300" dirty="0"/>
          </a:p>
          <a:p>
            <a:endParaRPr lang="sv-SE" sz="2300" dirty="0" smtClean="0"/>
          </a:p>
          <a:p>
            <a:r>
              <a:rPr lang="sv-SE" sz="2300" dirty="0"/>
              <a:t>Ställer vi </a:t>
            </a:r>
            <a:r>
              <a:rPr lang="sv-SE" sz="2300" dirty="0" err="1"/>
              <a:t>adhd</a:t>
            </a:r>
            <a:r>
              <a:rPr lang="sv-SE" sz="2300" dirty="0"/>
              <a:t>-diagnos enbart med hjälp av datoriserade uppmärksamhetstester för </a:t>
            </a:r>
            <a:r>
              <a:rPr lang="sv-SE" sz="2300" b="1" dirty="0" smtClean="0"/>
              <a:t>vuxna?</a:t>
            </a:r>
            <a:endParaRPr lang="sv-SE" sz="2300" b="1" dirty="0"/>
          </a:p>
          <a:p>
            <a:endParaRPr lang="sv-SE" sz="2100" dirty="0"/>
          </a:p>
          <a:p>
            <a:r>
              <a:rPr lang="sv-SE" sz="1400" dirty="0"/>
              <a:t>Exempel på uppmärksamhetstest är QB-test, CPT eller TOVA.</a:t>
            </a:r>
          </a:p>
          <a:p>
            <a:endParaRPr lang="sv-SE" sz="1600" dirty="0" smtClean="0"/>
          </a:p>
          <a:p>
            <a:endParaRPr lang="sv-SE" sz="1600" dirty="0"/>
          </a:p>
        </p:txBody>
      </p:sp>
    </p:spTree>
    <p:extLst>
      <p:ext uri="{BB962C8B-B14F-4D97-AF65-F5344CB8AC3E}">
        <p14:creationId xmlns:p14="http://schemas.microsoft.com/office/powerpoint/2010/main" val="622602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 smtClean="0"/>
              <a:t>GAP analys regioner: </a:t>
            </a:r>
            <a:r>
              <a:rPr lang="sv-SE" sz="3200" dirty="0"/>
              <a:t>Effektiv samverkan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ts val="1920"/>
              </a:lnSpc>
              <a:spcBef>
                <a:spcPts val="0"/>
              </a:spcBef>
            </a:pPr>
            <a:r>
              <a:rPr lang="sv-SE" sz="1600" dirty="0" smtClean="0"/>
              <a:t>Har vi rutiner </a:t>
            </a:r>
            <a:r>
              <a:rPr lang="sv-SE" sz="1600" dirty="0"/>
              <a:t>för samarbete och tydlig ansvarsfördelning mellan primärvården, den specialiserade psykiatrin och habiliteringen för </a:t>
            </a:r>
            <a:r>
              <a:rPr lang="sv-SE" sz="1600" b="1" dirty="0" smtClean="0"/>
              <a:t>barn/vuxna</a:t>
            </a:r>
            <a:r>
              <a:rPr lang="sv-SE" sz="1600" dirty="0" smtClean="0"/>
              <a:t> </a:t>
            </a:r>
            <a:r>
              <a:rPr lang="sv-SE" sz="1600" dirty="0"/>
              <a:t>med </a:t>
            </a:r>
            <a:r>
              <a:rPr lang="sv-SE" sz="1600" dirty="0" smtClean="0"/>
              <a:t>ADHD som </a:t>
            </a:r>
            <a:r>
              <a:rPr lang="sv-SE" sz="1600" dirty="0"/>
              <a:t>behöver vård från flera instanser</a:t>
            </a:r>
            <a:r>
              <a:rPr lang="sv-SE" sz="1600" dirty="0" smtClean="0"/>
              <a:t>?</a:t>
            </a:r>
          </a:p>
          <a:p>
            <a:pPr>
              <a:lnSpc>
                <a:spcPts val="1920"/>
              </a:lnSpc>
              <a:spcBef>
                <a:spcPts val="0"/>
              </a:spcBef>
            </a:pPr>
            <a:endParaRPr lang="sv-SE" sz="1600" dirty="0"/>
          </a:p>
          <a:p>
            <a:pPr>
              <a:lnSpc>
                <a:spcPts val="1920"/>
              </a:lnSpc>
              <a:spcBef>
                <a:spcPts val="0"/>
              </a:spcBef>
            </a:pPr>
            <a:endParaRPr lang="sv-SE" sz="1600" dirty="0" smtClean="0"/>
          </a:p>
          <a:p>
            <a:pPr>
              <a:lnSpc>
                <a:spcPts val="1920"/>
              </a:lnSpc>
              <a:spcBef>
                <a:spcPts val="0"/>
              </a:spcBef>
            </a:pPr>
            <a:endParaRPr lang="sv-SE" sz="1600" dirty="0"/>
          </a:p>
          <a:p>
            <a:endParaRPr lang="sv-SE" sz="1600" dirty="0"/>
          </a:p>
          <a:p>
            <a:pPr>
              <a:lnSpc>
                <a:spcPts val="1920"/>
              </a:lnSpc>
              <a:spcBef>
                <a:spcPts val="0"/>
              </a:spcBef>
            </a:pPr>
            <a:r>
              <a:rPr lang="sv-SE" sz="1600" dirty="0"/>
              <a:t>Har </a:t>
            </a:r>
            <a:r>
              <a:rPr lang="sv-SE" sz="1600" dirty="0" smtClean="0"/>
              <a:t>vi rutiner </a:t>
            </a:r>
            <a:r>
              <a:rPr lang="sv-SE" sz="1600" dirty="0"/>
              <a:t>för samarbete och tydlig ansvarsfördelning mellan primärvården, den specialiserade psykiatrin och habiliteringen för </a:t>
            </a:r>
            <a:r>
              <a:rPr lang="sv-SE" sz="1600" b="1" dirty="0" smtClean="0"/>
              <a:t>barn/vuxna</a:t>
            </a:r>
            <a:r>
              <a:rPr lang="sv-SE" sz="1600" dirty="0" smtClean="0"/>
              <a:t> </a:t>
            </a:r>
            <a:r>
              <a:rPr lang="sv-SE" sz="1600" dirty="0"/>
              <a:t>med </a:t>
            </a:r>
            <a:r>
              <a:rPr lang="sv-SE" sz="1600" dirty="0" smtClean="0"/>
              <a:t>autism </a:t>
            </a:r>
            <a:r>
              <a:rPr lang="sv-SE" sz="1600" dirty="0"/>
              <a:t>som behöver vård från flera instanser?</a:t>
            </a:r>
          </a:p>
          <a:p>
            <a:endParaRPr lang="sv-SE" sz="1600" dirty="0" smtClean="0"/>
          </a:p>
        </p:txBody>
      </p:sp>
    </p:spTree>
    <p:extLst>
      <p:ext uri="{BB962C8B-B14F-4D97-AF65-F5344CB8AC3E}">
        <p14:creationId xmlns:p14="http://schemas.microsoft.com/office/powerpoint/2010/main" val="1846244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 smtClean="0"/>
              <a:t>GAP analys regioner: </a:t>
            </a:r>
            <a:r>
              <a:rPr lang="sv-SE" sz="3200" dirty="0"/>
              <a:t>Effektiv samverkan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v-SE" sz="1600" dirty="0"/>
              <a:t>Erbjuder </a:t>
            </a:r>
            <a:r>
              <a:rPr lang="sv-SE" sz="1600" dirty="0" smtClean="0"/>
              <a:t>vi en </a:t>
            </a:r>
            <a:r>
              <a:rPr lang="sv-SE" sz="1600" dirty="0"/>
              <a:t>gemensam genomgång av utredningsresultat för elevhälsan, skolan eller förskolan, gällande barn som genomgått </a:t>
            </a:r>
            <a:r>
              <a:rPr lang="sv-SE" sz="1600" dirty="0" smtClean="0"/>
              <a:t>en </a:t>
            </a:r>
            <a:r>
              <a:rPr lang="sv-SE" sz="1600" dirty="0"/>
              <a:t>neuropsykiatrisk utredning</a:t>
            </a:r>
            <a:r>
              <a:rPr lang="sv-SE" sz="1600" dirty="0" smtClean="0"/>
              <a:t>?</a:t>
            </a:r>
          </a:p>
          <a:p>
            <a:endParaRPr lang="sv-SE" sz="1600" dirty="0"/>
          </a:p>
          <a:p>
            <a:r>
              <a:rPr lang="sv-SE" sz="1600" dirty="0"/>
              <a:t>Erbjuder </a:t>
            </a:r>
            <a:r>
              <a:rPr lang="sv-SE" sz="1600" dirty="0" smtClean="0"/>
              <a:t>vi tidig </a:t>
            </a:r>
            <a:r>
              <a:rPr lang="sv-SE" sz="1600" dirty="0"/>
              <a:t>kontakt med öppenvårdspsykiatri, beroendevård/beroendemottagning och/eller socialtjänsten, till vuxna med </a:t>
            </a:r>
            <a:r>
              <a:rPr lang="sv-SE" sz="1600" dirty="0" smtClean="0"/>
              <a:t>ADHD inför </a:t>
            </a:r>
            <a:r>
              <a:rPr lang="sv-SE" sz="1600" dirty="0"/>
              <a:t>frigivningen från kriminalvården</a:t>
            </a:r>
            <a:r>
              <a:rPr lang="sv-SE" sz="1600" dirty="0" smtClean="0"/>
              <a:t>?</a:t>
            </a:r>
          </a:p>
          <a:p>
            <a:endParaRPr lang="sv-SE" sz="1600" dirty="0"/>
          </a:p>
          <a:p>
            <a:r>
              <a:rPr lang="sv-SE" sz="1600" dirty="0"/>
              <a:t>Erbjuder </a:t>
            </a:r>
            <a:r>
              <a:rPr lang="sv-SE" sz="1600" dirty="0" smtClean="0"/>
              <a:t>vi tidig </a:t>
            </a:r>
            <a:r>
              <a:rPr lang="sv-SE" sz="1600" dirty="0"/>
              <a:t>kontakt med öppenvårdspsykiatri, beroendevård/beroendemottagning och/eller socialtjänsten, till vuxna med </a:t>
            </a:r>
            <a:r>
              <a:rPr lang="sv-SE" sz="1600" dirty="0" smtClean="0"/>
              <a:t>autism </a:t>
            </a:r>
            <a:r>
              <a:rPr lang="sv-SE" sz="1600" dirty="0"/>
              <a:t>inför frigivningen från kriminalvården?</a:t>
            </a:r>
          </a:p>
          <a:p>
            <a:endParaRPr lang="sv-SE" sz="1600" dirty="0"/>
          </a:p>
          <a:p>
            <a:endParaRPr lang="sv-SE" sz="1600" dirty="0"/>
          </a:p>
        </p:txBody>
      </p:sp>
    </p:spTree>
    <p:extLst>
      <p:ext uri="{BB962C8B-B14F-4D97-AF65-F5344CB8AC3E}">
        <p14:creationId xmlns:p14="http://schemas.microsoft.com/office/powerpoint/2010/main" val="3807178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 smtClean="0"/>
              <a:t>GAP analys socialtjänst: </a:t>
            </a:r>
            <a:r>
              <a:rPr lang="sv-SE" sz="3200" dirty="0"/>
              <a:t>Effektiv samverkan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v-SE" sz="1600" dirty="0" smtClean="0"/>
              <a:t>Erbjuder vi tidig </a:t>
            </a:r>
            <a:r>
              <a:rPr lang="sv-SE" sz="1600" dirty="0"/>
              <a:t>kontakt med öppenvårdspsykiatri, beroendevård/beroendemottagning och/eller socialtjänsten, till vuxna med </a:t>
            </a:r>
            <a:r>
              <a:rPr lang="sv-SE" sz="1600" dirty="0" smtClean="0"/>
              <a:t>ADHD inför </a:t>
            </a:r>
            <a:r>
              <a:rPr lang="sv-SE" sz="1600" dirty="0"/>
              <a:t>frigivningen från kriminalvården</a:t>
            </a:r>
            <a:r>
              <a:rPr lang="sv-SE" sz="1600" dirty="0" smtClean="0"/>
              <a:t>?</a:t>
            </a:r>
          </a:p>
          <a:p>
            <a:endParaRPr lang="sv-SE" sz="1600" dirty="0"/>
          </a:p>
          <a:p>
            <a:r>
              <a:rPr lang="sv-SE" sz="1600" dirty="0"/>
              <a:t>Erbjuder </a:t>
            </a:r>
            <a:r>
              <a:rPr lang="sv-SE" sz="1600" dirty="0" smtClean="0"/>
              <a:t>vi tidig </a:t>
            </a:r>
            <a:r>
              <a:rPr lang="sv-SE" sz="1600" dirty="0"/>
              <a:t>kontakt med öppenvårdspsykiatri, beroendevård/beroendemottagning och/eller socialtjänsten, till vuxna med </a:t>
            </a:r>
            <a:r>
              <a:rPr lang="sv-SE" sz="1600" dirty="0" smtClean="0"/>
              <a:t>autism </a:t>
            </a:r>
            <a:r>
              <a:rPr lang="sv-SE" sz="1600" dirty="0"/>
              <a:t>inför frigivningen från kriminalvården?</a:t>
            </a:r>
          </a:p>
          <a:p>
            <a:endParaRPr lang="sv-SE" sz="1600" dirty="0"/>
          </a:p>
          <a:p>
            <a:endParaRPr lang="sv-SE" sz="1600" dirty="0"/>
          </a:p>
        </p:txBody>
      </p:sp>
    </p:spTree>
    <p:extLst>
      <p:ext uri="{BB962C8B-B14F-4D97-AF65-F5344CB8AC3E}">
        <p14:creationId xmlns:p14="http://schemas.microsoft.com/office/powerpoint/2010/main" val="4233158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 smtClean="0"/>
              <a:t>GAP analys regioner: Effektiv samverkan</a:t>
            </a:r>
            <a:endParaRPr lang="sv-SE" sz="32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v-SE" sz="1600" dirty="0" smtClean="0"/>
              <a:t>Har vi rutiner för en strukturerad övergång från barnsjukvård till vuxensjukvård för personer med ADHD? </a:t>
            </a:r>
          </a:p>
          <a:p>
            <a:endParaRPr lang="sv-SE" sz="1600" dirty="0"/>
          </a:p>
          <a:p>
            <a:r>
              <a:rPr lang="sv-SE" sz="1600" dirty="0"/>
              <a:t>Har vi rutiner för en strukturerad övergång från barnsjukvård till vuxensjukvård för personer med </a:t>
            </a:r>
            <a:r>
              <a:rPr lang="sv-SE" sz="1600" dirty="0" smtClean="0"/>
              <a:t>autis</a:t>
            </a:r>
            <a:r>
              <a:rPr lang="sv-SE" sz="1600" dirty="0"/>
              <a:t>m</a:t>
            </a:r>
            <a:r>
              <a:rPr lang="sv-SE" sz="1600" dirty="0" smtClean="0"/>
              <a:t>? </a:t>
            </a:r>
            <a:endParaRPr lang="sv-SE" sz="1600" dirty="0"/>
          </a:p>
          <a:p>
            <a:endParaRPr lang="sv-SE" sz="1600" dirty="0"/>
          </a:p>
          <a:p>
            <a:endParaRPr lang="sv-SE" sz="1600" dirty="0"/>
          </a:p>
        </p:txBody>
      </p:sp>
    </p:spTree>
    <p:extLst>
      <p:ext uri="{BB962C8B-B14F-4D97-AF65-F5344CB8AC3E}">
        <p14:creationId xmlns:p14="http://schemas.microsoft.com/office/powerpoint/2010/main" val="2246932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 smtClean="0"/>
              <a:t>GAP analys regioner: Effektiv samverkan</a:t>
            </a:r>
            <a:endParaRPr lang="sv-SE" sz="32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v-SE" sz="1600" dirty="0"/>
              <a:t>Har er verksamhet rutiner för samordning av tidiga insatser med andra aktörer inom hälso- och sjukvården, socialtjänsten och skolan (elevhälsan) för </a:t>
            </a:r>
            <a:r>
              <a:rPr lang="sv-SE" sz="1600" b="1" dirty="0"/>
              <a:t>barn</a:t>
            </a:r>
            <a:r>
              <a:rPr lang="sv-SE" sz="1600" dirty="0"/>
              <a:t> med misstänkt eller fastställd </a:t>
            </a:r>
            <a:r>
              <a:rPr lang="sv-SE" sz="1600" dirty="0" smtClean="0"/>
              <a:t>ADHD i </a:t>
            </a:r>
            <a:r>
              <a:rPr lang="sv-SE" sz="1600" dirty="0"/>
              <a:t>skolåldern och som visar tecken på ogynnsam utveckling? </a:t>
            </a:r>
          </a:p>
          <a:p>
            <a:endParaRPr lang="sv-SE" sz="1600" dirty="0" smtClean="0"/>
          </a:p>
          <a:p>
            <a:endParaRPr lang="sv-SE" sz="1600" dirty="0"/>
          </a:p>
          <a:p>
            <a:endParaRPr lang="sv-SE" sz="1600" dirty="0" smtClean="0"/>
          </a:p>
          <a:p>
            <a:r>
              <a:rPr lang="sv-SE" sz="1600" dirty="0"/>
              <a:t>Har er verksamhet rutiner för samordning av tidiga insatser med andra aktörer inom hälso- och sjukvården, socialtjänsten och skolan (elevhälsan) för </a:t>
            </a:r>
            <a:r>
              <a:rPr lang="sv-SE" sz="1600" b="1" dirty="0"/>
              <a:t>barn</a:t>
            </a:r>
            <a:r>
              <a:rPr lang="sv-SE" sz="1600" dirty="0"/>
              <a:t> med misstänkt eller fastställd </a:t>
            </a:r>
            <a:r>
              <a:rPr lang="sv-SE" sz="1600" dirty="0" smtClean="0"/>
              <a:t>autism </a:t>
            </a:r>
            <a:r>
              <a:rPr lang="sv-SE" sz="1600" dirty="0"/>
              <a:t>i skolåldern och som visar tecken på ogynnsam utveckling? </a:t>
            </a:r>
          </a:p>
          <a:p>
            <a:endParaRPr lang="sv-SE" sz="1600" dirty="0"/>
          </a:p>
          <a:p>
            <a:endParaRPr lang="sv-SE" sz="1600" dirty="0"/>
          </a:p>
        </p:txBody>
      </p:sp>
    </p:spTree>
    <p:extLst>
      <p:ext uri="{BB962C8B-B14F-4D97-AF65-F5344CB8AC3E}">
        <p14:creationId xmlns:p14="http://schemas.microsoft.com/office/powerpoint/2010/main" val="2122841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 smtClean="0"/>
              <a:t>GAP analys kommuner: </a:t>
            </a:r>
            <a:r>
              <a:rPr lang="sv-SE" sz="3200" dirty="0"/>
              <a:t>Effektiv samverkan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v-SE" sz="1600" dirty="0"/>
              <a:t>Har er verksamhet rutiner för samordning av tidiga insatser med andra aktörer inom hälso- och sjukvården, socialtjänsten och skolan (elevhälsan) för </a:t>
            </a:r>
            <a:r>
              <a:rPr lang="sv-SE" sz="1600" b="1" dirty="0"/>
              <a:t>barn</a:t>
            </a:r>
            <a:r>
              <a:rPr lang="sv-SE" sz="1600" dirty="0"/>
              <a:t> med misstänkt eller fastställd </a:t>
            </a:r>
            <a:r>
              <a:rPr lang="sv-SE" sz="1600" dirty="0" smtClean="0"/>
              <a:t>ADHD i </a:t>
            </a:r>
            <a:r>
              <a:rPr lang="sv-SE" sz="1600" dirty="0"/>
              <a:t>skolåldern och som visar tecken på ogynnsam utveckling? </a:t>
            </a:r>
          </a:p>
          <a:p>
            <a:endParaRPr lang="sv-SE" sz="1600" dirty="0" smtClean="0"/>
          </a:p>
          <a:p>
            <a:endParaRPr lang="sv-SE" sz="1600" dirty="0"/>
          </a:p>
          <a:p>
            <a:endParaRPr lang="sv-SE" sz="1600" dirty="0" smtClean="0"/>
          </a:p>
          <a:p>
            <a:r>
              <a:rPr lang="sv-SE" sz="1600" dirty="0"/>
              <a:t>Har er verksamhet rutiner för samordning av tidiga insatser med andra aktörer inom hälso- och sjukvården, socialtjänsten och skolan (elevhälsan) för </a:t>
            </a:r>
            <a:r>
              <a:rPr lang="sv-SE" sz="1600" b="1" dirty="0"/>
              <a:t>barn</a:t>
            </a:r>
            <a:r>
              <a:rPr lang="sv-SE" sz="1600" dirty="0"/>
              <a:t> med misstänkt eller fastställd </a:t>
            </a:r>
            <a:r>
              <a:rPr lang="sv-SE" sz="1600" dirty="0" smtClean="0"/>
              <a:t>autism </a:t>
            </a:r>
            <a:r>
              <a:rPr lang="sv-SE" sz="1600" dirty="0"/>
              <a:t>i skolåldern och som visar tecken på ogynnsam utveckling? </a:t>
            </a:r>
          </a:p>
          <a:p>
            <a:endParaRPr lang="sv-SE" sz="1600" dirty="0"/>
          </a:p>
          <a:p>
            <a:endParaRPr lang="sv-SE" sz="1600" dirty="0"/>
          </a:p>
        </p:txBody>
      </p:sp>
    </p:spTree>
    <p:extLst>
      <p:ext uri="{BB962C8B-B14F-4D97-AF65-F5344CB8AC3E}">
        <p14:creationId xmlns:p14="http://schemas.microsoft.com/office/powerpoint/2010/main" val="2571878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latshållare för innehåll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03169" y="65458"/>
            <a:ext cx="4858045" cy="6277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1961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 smtClean="0"/>
              <a:t>GAP analys regioner: Kompetensutveckling </a:t>
            </a:r>
            <a:endParaRPr lang="sv-SE" sz="32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09599" y="2276874"/>
            <a:ext cx="11352245" cy="3744415"/>
          </a:xfrm>
        </p:spPr>
        <p:txBody>
          <a:bodyPr>
            <a:normAutofit/>
          </a:bodyPr>
          <a:lstStyle/>
          <a:p>
            <a:r>
              <a:rPr lang="sv-SE" sz="1800" dirty="0"/>
              <a:t>Hur stor andel av personalen </a:t>
            </a:r>
            <a:r>
              <a:rPr lang="sv-SE" sz="1800" dirty="0" smtClean="0"/>
              <a:t>har </a:t>
            </a:r>
            <a:r>
              <a:rPr lang="sv-SE" sz="1800" dirty="0"/>
              <a:t>genomgått kompetensutveckling om </a:t>
            </a:r>
            <a:r>
              <a:rPr lang="sv-SE" sz="1800" dirty="0" smtClean="0"/>
              <a:t>ADHD hos </a:t>
            </a:r>
            <a:r>
              <a:rPr lang="sv-SE" sz="1800" b="1" dirty="0" smtClean="0"/>
              <a:t>barn/vuxna</a:t>
            </a:r>
            <a:r>
              <a:rPr lang="sv-SE" sz="1800" dirty="0" smtClean="0"/>
              <a:t>?</a:t>
            </a:r>
            <a:endParaRPr lang="sv-SE" sz="1800" dirty="0"/>
          </a:p>
          <a:p>
            <a:endParaRPr lang="sv-SE" sz="1600" dirty="0" smtClean="0"/>
          </a:p>
          <a:p>
            <a:endParaRPr lang="sv-SE" sz="1600" dirty="0" smtClean="0"/>
          </a:p>
          <a:p>
            <a:r>
              <a:rPr lang="sv-SE" sz="1800" dirty="0"/>
              <a:t>Hur stor andel av </a:t>
            </a:r>
            <a:r>
              <a:rPr lang="sv-SE" sz="1800" dirty="0" smtClean="0"/>
              <a:t>personalen har </a:t>
            </a:r>
            <a:r>
              <a:rPr lang="sv-SE" sz="1800" dirty="0"/>
              <a:t>genomgått kompetensutveckling om </a:t>
            </a:r>
            <a:r>
              <a:rPr lang="sv-SE" sz="1800" dirty="0" smtClean="0"/>
              <a:t>autism </a:t>
            </a:r>
            <a:r>
              <a:rPr lang="sv-SE" sz="1800" dirty="0"/>
              <a:t>hos </a:t>
            </a:r>
            <a:r>
              <a:rPr lang="sv-SE" sz="1800" b="1" dirty="0" smtClean="0"/>
              <a:t>barn/vuxna?</a:t>
            </a:r>
            <a:endParaRPr lang="sv-SE" sz="1800" b="1" dirty="0"/>
          </a:p>
          <a:p>
            <a:endParaRPr lang="sv-SE" sz="1800" dirty="0"/>
          </a:p>
          <a:p>
            <a:endParaRPr lang="sv-SE" sz="1600" dirty="0"/>
          </a:p>
        </p:txBody>
      </p:sp>
    </p:spTree>
    <p:extLst>
      <p:ext uri="{BB962C8B-B14F-4D97-AF65-F5344CB8AC3E}">
        <p14:creationId xmlns:p14="http://schemas.microsoft.com/office/powerpoint/2010/main" val="1084499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 smtClean="0"/>
              <a:t>GAP analys socialtjänst: Kompetensutveckling </a:t>
            </a:r>
            <a:endParaRPr lang="sv-SE" sz="32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09599" y="2276874"/>
            <a:ext cx="11352245" cy="3744415"/>
          </a:xfrm>
        </p:spPr>
        <p:txBody>
          <a:bodyPr>
            <a:normAutofit/>
          </a:bodyPr>
          <a:lstStyle/>
          <a:p>
            <a:r>
              <a:rPr lang="sv-SE" sz="1800" dirty="0"/>
              <a:t>Hur stor andel av personalen </a:t>
            </a:r>
            <a:r>
              <a:rPr lang="sv-SE" sz="1800" dirty="0" smtClean="0"/>
              <a:t>har </a:t>
            </a:r>
            <a:r>
              <a:rPr lang="sv-SE" sz="1800" dirty="0"/>
              <a:t>genomgått kompetensutveckling om </a:t>
            </a:r>
            <a:r>
              <a:rPr lang="sv-SE" sz="1800" dirty="0" smtClean="0"/>
              <a:t>ADHD hos </a:t>
            </a:r>
            <a:r>
              <a:rPr lang="sv-SE" sz="1800" b="1" dirty="0" smtClean="0"/>
              <a:t>barn/vuxna</a:t>
            </a:r>
            <a:r>
              <a:rPr lang="sv-SE" sz="1800" dirty="0" smtClean="0"/>
              <a:t>?</a:t>
            </a:r>
            <a:endParaRPr lang="sv-SE" sz="1800" dirty="0"/>
          </a:p>
          <a:p>
            <a:endParaRPr lang="sv-SE" sz="1600" dirty="0" smtClean="0"/>
          </a:p>
          <a:p>
            <a:endParaRPr lang="sv-SE" sz="1600" dirty="0"/>
          </a:p>
          <a:p>
            <a:endParaRPr lang="sv-SE" sz="1600" dirty="0" smtClean="0"/>
          </a:p>
          <a:p>
            <a:r>
              <a:rPr lang="sv-SE" sz="1800" dirty="0"/>
              <a:t>Hur stor andel av personalen </a:t>
            </a:r>
            <a:r>
              <a:rPr lang="sv-SE" sz="1800" dirty="0" smtClean="0"/>
              <a:t>har </a:t>
            </a:r>
            <a:r>
              <a:rPr lang="sv-SE" sz="1800" dirty="0"/>
              <a:t>genomgått kompetensutveckling om </a:t>
            </a:r>
            <a:r>
              <a:rPr lang="sv-SE" sz="1800" dirty="0" smtClean="0"/>
              <a:t>autism </a:t>
            </a:r>
            <a:r>
              <a:rPr lang="sv-SE" sz="1800" dirty="0"/>
              <a:t>hos </a:t>
            </a:r>
            <a:r>
              <a:rPr lang="sv-SE" sz="1800" b="1" dirty="0" smtClean="0"/>
              <a:t>barn/vuxna?</a:t>
            </a:r>
            <a:endParaRPr lang="sv-SE" sz="1800" b="1" dirty="0"/>
          </a:p>
          <a:p>
            <a:endParaRPr lang="sv-SE" sz="1800" dirty="0"/>
          </a:p>
          <a:p>
            <a:endParaRPr lang="sv-SE" sz="1600" dirty="0"/>
          </a:p>
        </p:txBody>
      </p:sp>
    </p:spTree>
    <p:extLst>
      <p:ext uri="{BB962C8B-B14F-4D97-AF65-F5344CB8AC3E}">
        <p14:creationId xmlns:p14="http://schemas.microsoft.com/office/powerpoint/2010/main" val="848708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 smtClean="0"/>
              <a:t>GAP analys elevhälsa: Kompetensutveckling </a:t>
            </a:r>
            <a:endParaRPr lang="sv-SE" sz="32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09599" y="2276874"/>
            <a:ext cx="11352245" cy="3744415"/>
          </a:xfrm>
        </p:spPr>
        <p:txBody>
          <a:bodyPr>
            <a:normAutofit/>
          </a:bodyPr>
          <a:lstStyle/>
          <a:p>
            <a:r>
              <a:rPr lang="sv-SE" sz="1800" dirty="0"/>
              <a:t>Hur stor andel av personalen </a:t>
            </a:r>
            <a:r>
              <a:rPr lang="sv-SE" sz="1800" dirty="0" smtClean="0"/>
              <a:t>har </a:t>
            </a:r>
            <a:r>
              <a:rPr lang="sv-SE" sz="1800" dirty="0"/>
              <a:t>genomgått kompetensutveckling om </a:t>
            </a:r>
            <a:r>
              <a:rPr lang="sv-SE" sz="1800" dirty="0" smtClean="0"/>
              <a:t>ADHD hos </a:t>
            </a:r>
            <a:r>
              <a:rPr lang="sv-SE" sz="1800" b="1" dirty="0" smtClean="0"/>
              <a:t>barn</a:t>
            </a:r>
            <a:r>
              <a:rPr lang="sv-SE" sz="1800" dirty="0" smtClean="0"/>
              <a:t>?</a:t>
            </a:r>
            <a:endParaRPr lang="sv-SE" sz="1800" dirty="0"/>
          </a:p>
          <a:p>
            <a:endParaRPr lang="sv-SE" sz="1600" dirty="0" smtClean="0"/>
          </a:p>
          <a:p>
            <a:endParaRPr lang="sv-SE" sz="1600" dirty="0" smtClean="0"/>
          </a:p>
          <a:p>
            <a:r>
              <a:rPr lang="sv-SE" sz="1800" dirty="0"/>
              <a:t>Hur stor andel av personalen </a:t>
            </a:r>
            <a:r>
              <a:rPr lang="sv-SE" sz="1800" dirty="0" smtClean="0"/>
              <a:t>har </a:t>
            </a:r>
            <a:r>
              <a:rPr lang="sv-SE" sz="1800" dirty="0"/>
              <a:t>genomgått kompetensutveckling om </a:t>
            </a:r>
            <a:r>
              <a:rPr lang="sv-SE" sz="1800" dirty="0" smtClean="0"/>
              <a:t>autism </a:t>
            </a:r>
            <a:r>
              <a:rPr lang="sv-SE" sz="1800" dirty="0"/>
              <a:t>hos </a:t>
            </a:r>
            <a:r>
              <a:rPr lang="sv-SE" sz="1800" b="1" dirty="0"/>
              <a:t>barn?</a:t>
            </a:r>
          </a:p>
          <a:p>
            <a:endParaRPr lang="sv-SE" sz="1800" dirty="0"/>
          </a:p>
          <a:p>
            <a:endParaRPr lang="sv-SE" sz="1600" dirty="0"/>
          </a:p>
        </p:txBody>
      </p:sp>
    </p:spTree>
    <p:extLst>
      <p:ext uri="{BB962C8B-B14F-4D97-AF65-F5344CB8AC3E}">
        <p14:creationId xmlns:p14="http://schemas.microsoft.com/office/powerpoint/2010/main" val="2467856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1291800" cy="1143000"/>
          </a:xfrm>
        </p:spPr>
        <p:txBody>
          <a:bodyPr>
            <a:normAutofit/>
          </a:bodyPr>
          <a:lstStyle/>
          <a:p>
            <a:r>
              <a:rPr lang="sv-SE" sz="3200" dirty="0"/>
              <a:t>GAP analys </a:t>
            </a:r>
            <a:r>
              <a:rPr lang="sv-SE" sz="3200" dirty="0" smtClean="0"/>
              <a:t>regioner – barnhälsovård: </a:t>
            </a:r>
            <a:r>
              <a:rPr lang="sv-SE" sz="3200" dirty="0"/>
              <a:t>Kompetensutveckling 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17172" y="2304866"/>
            <a:ext cx="10972800" cy="3744415"/>
          </a:xfrm>
        </p:spPr>
        <p:txBody>
          <a:bodyPr/>
          <a:lstStyle/>
          <a:p>
            <a:r>
              <a:rPr lang="sv-SE" sz="1800" dirty="0"/>
              <a:t>Hur stor andel av personalen </a:t>
            </a:r>
            <a:r>
              <a:rPr lang="sv-SE" sz="1800" dirty="0" smtClean="0"/>
              <a:t>har </a:t>
            </a:r>
            <a:r>
              <a:rPr lang="sv-SE" sz="1800" dirty="0"/>
              <a:t>genomgått kompetensutveckling om tidig upptäckt av autism?</a:t>
            </a: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100648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1291800" cy="1143000"/>
          </a:xfrm>
        </p:spPr>
        <p:txBody>
          <a:bodyPr>
            <a:normAutofit/>
          </a:bodyPr>
          <a:lstStyle/>
          <a:p>
            <a:r>
              <a:rPr lang="sv-SE" sz="3200" dirty="0"/>
              <a:t>GAP analys </a:t>
            </a:r>
            <a:r>
              <a:rPr lang="sv-SE" sz="3200" dirty="0" smtClean="0"/>
              <a:t>regioner:  </a:t>
            </a:r>
            <a:r>
              <a:rPr lang="sv-SE" sz="3200" dirty="0"/>
              <a:t>Kompetensutveckling 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17172" y="2304866"/>
            <a:ext cx="10972800" cy="3744415"/>
          </a:xfrm>
        </p:spPr>
        <p:txBody>
          <a:bodyPr/>
          <a:lstStyle/>
          <a:p>
            <a:r>
              <a:rPr lang="sv-SE" sz="1800" dirty="0"/>
              <a:t>Hur stor andel av personalen </a:t>
            </a:r>
            <a:r>
              <a:rPr lang="sv-SE" sz="1800" dirty="0" smtClean="0"/>
              <a:t>har </a:t>
            </a:r>
            <a:r>
              <a:rPr lang="sv-SE" sz="1800" dirty="0"/>
              <a:t>genomgått särskild kompetensutveckling om </a:t>
            </a:r>
            <a:r>
              <a:rPr lang="sv-SE" sz="1800" dirty="0" err="1"/>
              <a:t>adhd</a:t>
            </a:r>
            <a:r>
              <a:rPr lang="sv-SE" sz="1800" dirty="0"/>
              <a:t> och/eller autism hos äldre (över 65 år)?</a:t>
            </a: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347108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ctr"/>
            <a:r>
              <a:rPr lang="sv-SE" sz="7200" dirty="0" smtClean="0"/>
              <a:t>Kort paus</a:t>
            </a:r>
          </a:p>
          <a:p>
            <a:pPr algn="ctr"/>
            <a:r>
              <a:rPr lang="sv-SE" sz="4200" dirty="0">
                <a:hlinkClick r:id="rId2"/>
              </a:rPr>
              <a:t>https://www.lanseringvipsydostra.se/aktuell</a:t>
            </a:r>
            <a:r>
              <a:rPr lang="sv-SE" sz="4000" dirty="0">
                <a:hlinkClick r:id="rId2"/>
              </a:rPr>
              <a:t>t</a:t>
            </a:r>
            <a:endParaRPr lang="sv-SE" sz="4000" dirty="0"/>
          </a:p>
          <a:p>
            <a:pPr algn="ctr"/>
            <a:r>
              <a:rPr lang="sv-SE" sz="7200" dirty="0" smtClean="0"/>
              <a:t> </a:t>
            </a:r>
            <a:endParaRPr lang="sv-SE" sz="7200" dirty="0"/>
          </a:p>
        </p:txBody>
      </p:sp>
    </p:spTree>
    <p:extLst>
      <p:ext uri="{BB962C8B-B14F-4D97-AF65-F5344CB8AC3E}">
        <p14:creationId xmlns:p14="http://schemas.microsoft.com/office/powerpoint/2010/main" val="328587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1291800" cy="1143000"/>
          </a:xfrm>
        </p:spPr>
        <p:txBody>
          <a:bodyPr>
            <a:normAutofit/>
          </a:bodyPr>
          <a:lstStyle/>
          <a:p>
            <a:r>
              <a:rPr lang="sv-SE" sz="3200" dirty="0"/>
              <a:t>GAP analys </a:t>
            </a:r>
            <a:r>
              <a:rPr lang="sv-SE" sz="3200" dirty="0" smtClean="0"/>
              <a:t>regioner:  Psykosociala insatser och kognitivt stöd   </a:t>
            </a:r>
            <a:endParaRPr lang="sv-SE" sz="32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17172" y="2304866"/>
            <a:ext cx="10972800" cy="3744415"/>
          </a:xfrm>
        </p:spPr>
        <p:txBody>
          <a:bodyPr/>
          <a:lstStyle/>
          <a:p>
            <a:r>
              <a:rPr lang="sv-SE" sz="1800" dirty="0"/>
              <a:t>Erbjuder </a:t>
            </a:r>
            <a:r>
              <a:rPr lang="sv-SE" sz="1800" dirty="0" smtClean="0"/>
              <a:t>vi vård- </a:t>
            </a:r>
            <a:r>
              <a:rPr lang="sv-SE" sz="1800" dirty="0"/>
              <a:t>och stödsamordnare till </a:t>
            </a:r>
            <a:r>
              <a:rPr lang="sv-SE" sz="1800" dirty="0" smtClean="0"/>
              <a:t>barn/vuxna </a:t>
            </a:r>
            <a:r>
              <a:rPr lang="sv-SE" sz="1800" dirty="0"/>
              <a:t>med komplexa behov på grund av deras </a:t>
            </a:r>
            <a:r>
              <a:rPr lang="sv-SE" sz="1800" dirty="0" smtClean="0"/>
              <a:t>ADHD? </a:t>
            </a:r>
            <a:endParaRPr lang="sv-SE" sz="1800" dirty="0"/>
          </a:p>
          <a:p>
            <a:endParaRPr lang="sv-SE" sz="1800" dirty="0" smtClean="0"/>
          </a:p>
          <a:p>
            <a:endParaRPr lang="sv-SE" sz="1800" dirty="0" smtClean="0"/>
          </a:p>
          <a:p>
            <a:r>
              <a:rPr lang="sv-SE" sz="1800" dirty="0"/>
              <a:t>Erbjuder vi vård- och stödsamordnare till </a:t>
            </a:r>
            <a:r>
              <a:rPr lang="sv-SE" sz="1800" dirty="0" smtClean="0"/>
              <a:t>barn/vuxna </a:t>
            </a:r>
            <a:r>
              <a:rPr lang="sv-SE" sz="1800" dirty="0"/>
              <a:t>med komplexa behov på grund av deras </a:t>
            </a:r>
            <a:r>
              <a:rPr lang="sv-SE" sz="1800" dirty="0" smtClean="0"/>
              <a:t>autism? </a:t>
            </a:r>
            <a:endParaRPr lang="sv-SE" sz="1800" dirty="0"/>
          </a:p>
          <a:p>
            <a:endParaRPr lang="sv-SE" sz="1800" dirty="0"/>
          </a:p>
          <a:p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1280421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1291800" cy="1143000"/>
          </a:xfrm>
        </p:spPr>
        <p:txBody>
          <a:bodyPr>
            <a:normAutofit/>
          </a:bodyPr>
          <a:lstStyle/>
          <a:p>
            <a:r>
              <a:rPr lang="sv-SE" sz="3200" dirty="0"/>
              <a:t>GAP analys </a:t>
            </a:r>
            <a:r>
              <a:rPr lang="sv-SE" sz="3200" dirty="0" smtClean="0"/>
              <a:t>socialtjänst:  Psykosociala insatser och kognitivt stöd   </a:t>
            </a:r>
            <a:endParaRPr lang="sv-SE" sz="32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17172" y="2304866"/>
            <a:ext cx="10972800" cy="3744415"/>
          </a:xfrm>
        </p:spPr>
        <p:txBody>
          <a:bodyPr/>
          <a:lstStyle/>
          <a:p>
            <a:r>
              <a:rPr lang="sv-SE" sz="1800" dirty="0"/>
              <a:t>Erbjuder </a:t>
            </a:r>
            <a:r>
              <a:rPr lang="sv-SE" sz="1800" dirty="0" smtClean="0"/>
              <a:t>vi vård- </a:t>
            </a:r>
            <a:r>
              <a:rPr lang="sv-SE" sz="1800" dirty="0"/>
              <a:t>och stödsamordnare till </a:t>
            </a:r>
            <a:r>
              <a:rPr lang="sv-SE" sz="1800" dirty="0" smtClean="0"/>
              <a:t>barn/vuxna </a:t>
            </a:r>
            <a:r>
              <a:rPr lang="sv-SE" sz="1800" dirty="0"/>
              <a:t>med komplexa behov på grund av deras </a:t>
            </a:r>
            <a:r>
              <a:rPr lang="sv-SE" sz="1800" dirty="0" smtClean="0"/>
              <a:t>ADHD? </a:t>
            </a:r>
            <a:endParaRPr lang="sv-SE" sz="1800" dirty="0"/>
          </a:p>
          <a:p>
            <a:endParaRPr lang="sv-SE" sz="1800" dirty="0" smtClean="0"/>
          </a:p>
          <a:p>
            <a:endParaRPr lang="sv-SE" sz="1800" dirty="0" smtClean="0"/>
          </a:p>
          <a:p>
            <a:r>
              <a:rPr lang="sv-SE" sz="1800" dirty="0"/>
              <a:t>Erbjuder vi vård- och stödsamordnare till </a:t>
            </a:r>
            <a:r>
              <a:rPr lang="sv-SE" sz="1800" dirty="0" smtClean="0"/>
              <a:t>barn/vuxna </a:t>
            </a:r>
            <a:r>
              <a:rPr lang="sv-SE" sz="1800" dirty="0"/>
              <a:t>med komplexa behov på grund av deras </a:t>
            </a:r>
            <a:r>
              <a:rPr lang="sv-SE" sz="1800" dirty="0" smtClean="0"/>
              <a:t>autism? </a:t>
            </a:r>
            <a:endParaRPr lang="sv-SE" sz="1800" dirty="0"/>
          </a:p>
          <a:p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1038371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1291800" cy="1143000"/>
          </a:xfrm>
        </p:spPr>
        <p:txBody>
          <a:bodyPr>
            <a:normAutofit/>
          </a:bodyPr>
          <a:lstStyle/>
          <a:p>
            <a:r>
              <a:rPr lang="sv-SE" sz="3200" dirty="0"/>
              <a:t>GAP analys </a:t>
            </a:r>
            <a:r>
              <a:rPr lang="sv-SE" sz="3200" dirty="0" smtClean="0"/>
              <a:t>elevhälsa:  Psykosociala insatser och kognitivt stöd   </a:t>
            </a:r>
            <a:endParaRPr lang="sv-SE" sz="32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17172" y="2304866"/>
            <a:ext cx="10972800" cy="3744415"/>
          </a:xfrm>
        </p:spPr>
        <p:txBody>
          <a:bodyPr/>
          <a:lstStyle/>
          <a:p>
            <a:r>
              <a:rPr lang="sv-SE" sz="1800" dirty="0"/>
              <a:t>Erbjuder </a:t>
            </a:r>
            <a:r>
              <a:rPr lang="sv-SE" sz="1800" dirty="0" smtClean="0"/>
              <a:t>vi vård- </a:t>
            </a:r>
            <a:r>
              <a:rPr lang="sv-SE" sz="1800" dirty="0"/>
              <a:t>och stödsamordnare till </a:t>
            </a:r>
            <a:r>
              <a:rPr lang="sv-SE" sz="1800" b="1" dirty="0" smtClean="0"/>
              <a:t>barn</a:t>
            </a:r>
            <a:r>
              <a:rPr lang="sv-SE" sz="1800" dirty="0" smtClean="0"/>
              <a:t> </a:t>
            </a:r>
            <a:r>
              <a:rPr lang="sv-SE" sz="1800" dirty="0"/>
              <a:t>med komplexa behov på grund av deras </a:t>
            </a:r>
            <a:r>
              <a:rPr lang="sv-SE" sz="1800" dirty="0" smtClean="0"/>
              <a:t>ADHD? </a:t>
            </a:r>
            <a:endParaRPr lang="sv-SE" sz="1800" dirty="0"/>
          </a:p>
          <a:p>
            <a:endParaRPr lang="sv-SE" sz="1800" dirty="0" smtClean="0"/>
          </a:p>
          <a:p>
            <a:r>
              <a:rPr lang="sv-SE" sz="1800" dirty="0" smtClean="0"/>
              <a:t>Erbjuder </a:t>
            </a:r>
            <a:r>
              <a:rPr lang="sv-SE" sz="1800" dirty="0"/>
              <a:t>vi vård- och stödsamordnare till </a:t>
            </a:r>
            <a:r>
              <a:rPr lang="sv-SE" sz="1800" b="1" dirty="0"/>
              <a:t>barn</a:t>
            </a:r>
            <a:r>
              <a:rPr lang="sv-SE" sz="1800" dirty="0"/>
              <a:t> med komplexa behov på grund av deras </a:t>
            </a:r>
            <a:r>
              <a:rPr lang="sv-SE" sz="1800" dirty="0" smtClean="0"/>
              <a:t>autism? </a:t>
            </a:r>
            <a:endParaRPr lang="sv-SE" sz="1800" dirty="0"/>
          </a:p>
          <a:p>
            <a:endParaRPr lang="sv-SE" sz="1800" dirty="0"/>
          </a:p>
          <a:p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3123155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1291800" cy="1143000"/>
          </a:xfrm>
        </p:spPr>
        <p:txBody>
          <a:bodyPr>
            <a:normAutofit/>
          </a:bodyPr>
          <a:lstStyle/>
          <a:p>
            <a:r>
              <a:rPr lang="sv-SE" sz="3200" dirty="0"/>
              <a:t>GAP analys </a:t>
            </a:r>
            <a:r>
              <a:rPr lang="sv-SE" sz="3200" dirty="0" smtClean="0"/>
              <a:t>region:  Psykosociala insatser och kognitivt stöd   </a:t>
            </a:r>
            <a:endParaRPr lang="sv-SE" sz="32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17172" y="2304866"/>
            <a:ext cx="10972800" cy="3744415"/>
          </a:xfrm>
        </p:spPr>
        <p:txBody>
          <a:bodyPr>
            <a:normAutofit/>
          </a:bodyPr>
          <a:lstStyle/>
          <a:p>
            <a:r>
              <a:rPr lang="sv-SE" sz="1900" dirty="0"/>
              <a:t>Erbjuder </a:t>
            </a:r>
            <a:r>
              <a:rPr lang="sv-SE" sz="1900" dirty="0" smtClean="0"/>
              <a:t>vi föräldraskapsstöd </a:t>
            </a:r>
            <a:r>
              <a:rPr lang="sv-SE" sz="1900" dirty="0"/>
              <a:t>till vårdnadshavare med </a:t>
            </a:r>
            <a:r>
              <a:rPr lang="sv-SE" sz="1900" dirty="0" smtClean="0"/>
              <a:t>ADHD?</a:t>
            </a:r>
            <a:endParaRPr lang="sv-SE" sz="1900" dirty="0"/>
          </a:p>
          <a:p>
            <a:endParaRPr lang="sv-SE" sz="1800" dirty="0" smtClean="0"/>
          </a:p>
          <a:p>
            <a:endParaRPr lang="sv-SE" sz="1800" dirty="0"/>
          </a:p>
          <a:p>
            <a:endParaRPr lang="sv-SE" sz="1800" dirty="0"/>
          </a:p>
          <a:p>
            <a:r>
              <a:rPr lang="sv-SE" sz="1800" dirty="0"/>
              <a:t>Erbjuder vi föräldraskapsstöd till vårdnadshavare med </a:t>
            </a:r>
            <a:r>
              <a:rPr lang="sv-SE" sz="1800" dirty="0" smtClean="0"/>
              <a:t>autism?</a:t>
            </a:r>
            <a:endParaRPr lang="sv-SE" sz="1800" dirty="0"/>
          </a:p>
          <a:p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1375798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Nästan filmpremiär…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sv-SE" dirty="0" smtClean="0"/>
          </a:p>
          <a:p>
            <a:r>
              <a:rPr lang="sv-SE" dirty="0">
                <a:hlinkClick r:id="rId2"/>
              </a:rPr>
              <a:t>https://vimeo.com/766839489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07709332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1291800" cy="1143000"/>
          </a:xfrm>
        </p:spPr>
        <p:txBody>
          <a:bodyPr>
            <a:normAutofit/>
          </a:bodyPr>
          <a:lstStyle/>
          <a:p>
            <a:r>
              <a:rPr lang="sv-SE" sz="3200" dirty="0"/>
              <a:t>GAP analys </a:t>
            </a:r>
            <a:r>
              <a:rPr lang="sv-SE" sz="3200" dirty="0" smtClean="0"/>
              <a:t>socialtjänst:  Psykosociala insatser och kognitivt stöd   </a:t>
            </a:r>
            <a:endParaRPr lang="sv-SE" sz="32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17172" y="2304866"/>
            <a:ext cx="10972800" cy="3744415"/>
          </a:xfrm>
        </p:spPr>
        <p:txBody>
          <a:bodyPr>
            <a:normAutofit/>
          </a:bodyPr>
          <a:lstStyle/>
          <a:p>
            <a:r>
              <a:rPr lang="sv-SE" sz="1900" dirty="0"/>
              <a:t>Erbjuder </a:t>
            </a:r>
            <a:r>
              <a:rPr lang="sv-SE" sz="1900" dirty="0" smtClean="0"/>
              <a:t>vi föräldraskapsstöd </a:t>
            </a:r>
            <a:r>
              <a:rPr lang="sv-SE" sz="1900" dirty="0"/>
              <a:t>till vårdnadshavare med </a:t>
            </a:r>
            <a:r>
              <a:rPr lang="sv-SE" sz="1900" dirty="0" smtClean="0"/>
              <a:t>ADHD?</a:t>
            </a:r>
            <a:endParaRPr lang="sv-SE" sz="1900" dirty="0"/>
          </a:p>
          <a:p>
            <a:endParaRPr lang="sv-SE" sz="1800" dirty="0" smtClean="0"/>
          </a:p>
          <a:p>
            <a:endParaRPr lang="sv-SE" sz="1800" dirty="0"/>
          </a:p>
          <a:p>
            <a:endParaRPr lang="sv-SE" sz="1800" dirty="0"/>
          </a:p>
          <a:p>
            <a:r>
              <a:rPr lang="sv-SE" sz="1800" dirty="0"/>
              <a:t>Erbjuder vi föräldraskapsstöd till vårdnadshavare med </a:t>
            </a:r>
            <a:r>
              <a:rPr lang="sv-SE" sz="1800" dirty="0" smtClean="0"/>
              <a:t>autism?</a:t>
            </a:r>
            <a:endParaRPr lang="sv-SE" sz="1800" dirty="0"/>
          </a:p>
          <a:p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39958771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1291800" cy="1143000"/>
          </a:xfrm>
        </p:spPr>
        <p:txBody>
          <a:bodyPr>
            <a:normAutofit/>
          </a:bodyPr>
          <a:lstStyle/>
          <a:p>
            <a:r>
              <a:rPr lang="sv-SE" sz="3200" dirty="0"/>
              <a:t>GAP analys </a:t>
            </a:r>
            <a:r>
              <a:rPr lang="sv-SE" sz="3200" dirty="0" smtClean="0"/>
              <a:t>region:  Psykosociala insatser och kognitivt stöd   </a:t>
            </a:r>
            <a:endParaRPr lang="sv-SE" sz="32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51858" y="2332858"/>
            <a:ext cx="10972800" cy="3744415"/>
          </a:xfrm>
        </p:spPr>
        <p:txBody>
          <a:bodyPr>
            <a:normAutofit/>
          </a:bodyPr>
          <a:lstStyle/>
          <a:p>
            <a:r>
              <a:rPr lang="sv-SE" sz="1900" dirty="0" smtClean="0"/>
              <a:t>Erbjuder vi ”individanpassat </a:t>
            </a:r>
            <a:r>
              <a:rPr lang="sv-SE" sz="1900" dirty="0"/>
              <a:t>stöd till arbete” (IPS-modellen, </a:t>
            </a:r>
            <a:r>
              <a:rPr lang="sv-SE" sz="1900" dirty="0" err="1"/>
              <a:t>individual</a:t>
            </a:r>
            <a:r>
              <a:rPr lang="sv-SE" sz="1900" dirty="0"/>
              <a:t> </a:t>
            </a:r>
            <a:r>
              <a:rPr lang="sv-SE" sz="1900" dirty="0" err="1"/>
              <a:t>placement</a:t>
            </a:r>
            <a:r>
              <a:rPr lang="sv-SE" sz="1900" dirty="0"/>
              <a:t> and support), till </a:t>
            </a:r>
            <a:r>
              <a:rPr lang="sv-SE" sz="1900" b="1" dirty="0"/>
              <a:t>vuxna</a:t>
            </a:r>
            <a:r>
              <a:rPr lang="sv-SE" sz="1900" dirty="0"/>
              <a:t> med </a:t>
            </a:r>
            <a:r>
              <a:rPr lang="sv-SE" sz="1900" dirty="0" smtClean="0"/>
              <a:t>ADHD/autism som </a:t>
            </a:r>
            <a:r>
              <a:rPr lang="sv-SE" sz="1900" dirty="0"/>
              <a:t>saknar eller har en svag anknytning till arbetsmarknaden? </a:t>
            </a:r>
            <a:endParaRPr lang="sv-SE" sz="1900" dirty="0" smtClean="0"/>
          </a:p>
          <a:p>
            <a:endParaRPr lang="sv-SE" sz="1900" dirty="0"/>
          </a:p>
          <a:p>
            <a:endParaRPr lang="sv-SE" sz="1900" dirty="0"/>
          </a:p>
          <a:p>
            <a:endParaRPr lang="sv-SE" sz="1800" dirty="0" smtClean="0"/>
          </a:p>
          <a:p>
            <a:endParaRPr lang="sv-SE" sz="1800" dirty="0"/>
          </a:p>
          <a:p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3311157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1291800" cy="1143000"/>
          </a:xfrm>
        </p:spPr>
        <p:txBody>
          <a:bodyPr>
            <a:normAutofit/>
          </a:bodyPr>
          <a:lstStyle/>
          <a:p>
            <a:r>
              <a:rPr lang="sv-SE" sz="3200" dirty="0"/>
              <a:t>GAP analys </a:t>
            </a:r>
            <a:r>
              <a:rPr lang="sv-SE" sz="3200" dirty="0" smtClean="0"/>
              <a:t>socialtjänst:  Psykosociala insatser och kognitivt stöd   </a:t>
            </a:r>
            <a:endParaRPr lang="sv-SE" sz="32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17172" y="2304866"/>
            <a:ext cx="10972800" cy="3744415"/>
          </a:xfrm>
        </p:spPr>
        <p:txBody>
          <a:bodyPr>
            <a:normAutofit/>
          </a:bodyPr>
          <a:lstStyle/>
          <a:p>
            <a:r>
              <a:rPr lang="sv-SE" sz="1900" dirty="0" smtClean="0"/>
              <a:t>Erbjuder vi ”individanpassat </a:t>
            </a:r>
            <a:r>
              <a:rPr lang="sv-SE" sz="1900" dirty="0"/>
              <a:t>stöd till arbete” (IPS-modellen, </a:t>
            </a:r>
            <a:r>
              <a:rPr lang="sv-SE" sz="1900" dirty="0" err="1"/>
              <a:t>individual</a:t>
            </a:r>
            <a:r>
              <a:rPr lang="sv-SE" sz="1900" dirty="0"/>
              <a:t> </a:t>
            </a:r>
            <a:r>
              <a:rPr lang="sv-SE" sz="1900" dirty="0" err="1"/>
              <a:t>placement</a:t>
            </a:r>
            <a:r>
              <a:rPr lang="sv-SE" sz="1900" dirty="0"/>
              <a:t> and support), till </a:t>
            </a:r>
            <a:r>
              <a:rPr lang="sv-SE" sz="1900" b="1" dirty="0"/>
              <a:t>vuxna</a:t>
            </a:r>
            <a:r>
              <a:rPr lang="sv-SE" sz="1900" dirty="0"/>
              <a:t> med </a:t>
            </a:r>
            <a:r>
              <a:rPr lang="sv-SE" sz="1900" dirty="0" smtClean="0"/>
              <a:t>ADHD som </a:t>
            </a:r>
            <a:r>
              <a:rPr lang="sv-SE" sz="1900" dirty="0"/>
              <a:t>saknar eller har en svag anknytning till arbetsmarknaden? </a:t>
            </a:r>
            <a:endParaRPr lang="sv-SE" sz="1900" dirty="0" smtClean="0"/>
          </a:p>
          <a:p>
            <a:endParaRPr lang="sv-SE" sz="1900" dirty="0"/>
          </a:p>
          <a:p>
            <a:r>
              <a:rPr lang="sv-SE" sz="1900" dirty="0"/>
              <a:t>Erbjuder vi ”individanpassat stöd till arbete” (IPS-modellen, </a:t>
            </a:r>
            <a:r>
              <a:rPr lang="sv-SE" sz="1900" dirty="0" err="1"/>
              <a:t>individual</a:t>
            </a:r>
            <a:r>
              <a:rPr lang="sv-SE" sz="1900" dirty="0"/>
              <a:t> </a:t>
            </a:r>
            <a:r>
              <a:rPr lang="sv-SE" sz="1900" dirty="0" err="1"/>
              <a:t>placement</a:t>
            </a:r>
            <a:r>
              <a:rPr lang="sv-SE" sz="1900" dirty="0"/>
              <a:t> and support), till </a:t>
            </a:r>
            <a:r>
              <a:rPr lang="sv-SE" sz="1900" b="1" dirty="0"/>
              <a:t>vuxna</a:t>
            </a:r>
            <a:r>
              <a:rPr lang="sv-SE" sz="1900" dirty="0"/>
              <a:t> med </a:t>
            </a:r>
            <a:r>
              <a:rPr lang="sv-SE" sz="1900" dirty="0" smtClean="0"/>
              <a:t>autism som </a:t>
            </a:r>
            <a:r>
              <a:rPr lang="sv-SE" sz="1900" dirty="0"/>
              <a:t>saknar eller har en svag anknytning till arbetsmarknaden? </a:t>
            </a:r>
          </a:p>
          <a:p>
            <a:endParaRPr lang="sv-SE" sz="1900" dirty="0"/>
          </a:p>
          <a:p>
            <a:endParaRPr lang="sv-SE" sz="1800" dirty="0" smtClean="0"/>
          </a:p>
          <a:p>
            <a:endParaRPr lang="sv-SE" sz="1800" dirty="0"/>
          </a:p>
          <a:p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2100252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1291800" cy="1143000"/>
          </a:xfrm>
        </p:spPr>
        <p:txBody>
          <a:bodyPr>
            <a:normAutofit/>
          </a:bodyPr>
          <a:lstStyle/>
          <a:p>
            <a:r>
              <a:rPr lang="sv-SE" sz="3200" dirty="0"/>
              <a:t>GAP analys </a:t>
            </a:r>
            <a:r>
              <a:rPr lang="sv-SE" sz="3200" dirty="0" smtClean="0"/>
              <a:t>region:  Psykosociala insatser och kognitivt stöd   </a:t>
            </a:r>
            <a:endParaRPr lang="sv-SE" sz="32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17172" y="2304866"/>
            <a:ext cx="10972800" cy="3744415"/>
          </a:xfrm>
        </p:spPr>
        <p:txBody>
          <a:bodyPr>
            <a:normAutofit/>
          </a:bodyPr>
          <a:lstStyle/>
          <a:p>
            <a:r>
              <a:rPr lang="sv-SE" sz="1800" dirty="0"/>
              <a:t>Uppmärksammar </a:t>
            </a:r>
            <a:r>
              <a:rPr lang="sv-SE" sz="1800" dirty="0" smtClean="0"/>
              <a:t>vi munhälsan</a:t>
            </a:r>
            <a:r>
              <a:rPr lang="sv-SE" sz="1800" dirty="0"/>
              <a:t>, och remittering till tandvården vid behov, vid uppföljande hälso- och </a:t>
            </a:r>
            <a:r>
              <a:rPr lang="sv-SE" sz="1800" dirty="0" smtClean="0"/>
              <a:t>sjukvårdsbesök </a:t>
            </a:r>
            <a:r>
              <a:rPr lang="sv-SE" sz="1800" dirty="0"/>
              <a:t>för </a:t>
            </a:r>
            <a:r>
              <a:rPr lang="sv-SE" sz="1800" b="1" dirty="0" smtClean="0"/>
              <a:t>barn</a:t>
            </a:r>
            <a:r>
              <a:rPr lang="sv-SE" sz="1800" dirty="0" smtClean="0"/>
              <a:t> </a:t>
            </a:r>
            <a:r>
              <a:rPr lang="sv-SE" sz="1800" dirty="0"/>
              <a:t>med </a:t>
            </a:r>
            <a:r>
              <a:rPr lang="sv-SE" sz="1800" dirty="0" smtClean="0"/>
              <a:t>ADHD/autism?</a:t>
            </a:r>
          </a:p>
          <a:p>
            <a:endParaRPr lang="sv-SE" sz="1800" dirty="0"/>
          </a:p>
          <a:p>
            <a:r>
              <a:rPr lang="sv-SE" sz="1800" dirty="0" smtClean="0"/>
              <a:t>Uppmärksammar </a:t>
            </a:r>
            <a:r>
              <a:rPr lang="sv-SE" sz="1800" dirty="0"/>
              <a:t>vi munhälsan, och remittering till tandvården vid behov, vid uppföljande hälso- och sjukvårdsbesök för </a:t>
            </a:r>
            <a:r>
              <a:rPr lang="sv-SE" sz="1800" b="1" dirty="0" smtClean="0"/>
              <a:t>vuxna</a:t>
            </a:r>
            <a:r>
              <a:rPr lang="sv-SE" sz="1800" dirty="0" smtClean="0"/>
              <a:t> </a:t>
            </a:r>
            <a:r>
              <a:rPr lang="sv-SE" sz="1800" dirty="0"/>
              <a:t>med ADHD/autism?</a:t>
            </a:r>
            <a:endParaRPr lang="sv-SE" sz="1800" dirty="0" smtClean="0"/>
          </a:p>
          <a:p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1038270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1291800" cy="1143000"/>
          </a:xfrm>
        </p:spPr>
        <p:txBody>
          <a:bodyPr>
            <a:normAutofit/>
          </a:bodyPr>
          <a:lstStyle/>
          <a:p>
            <a:r>
              <a:rPr lang="sv-SE" sz="3200" dirty="0"/>
              <a:t>GAP analys </a:t>
            </a:r>
            <a:r>
              <a:rPr lang="sv-SE" sz="3200" dirty="0" smtClean="0"/>
              <a:t>region:  Psykosociala insatser och kognitivt stöd   </a:t>
            </a:r>
            <a:endParaRPr lang="sv-SE" sz="32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17172" y="2304866"/>
            <a:ext cx="10972800" cy="3744415"/>
          </a:xfrm>
        </p:spPr>
        <p:txBody>
          <a:bodyPr>
            <a:normAutofit/>
          </a:bodyPr>
          <a:lstStyle/>
          <a:p>
            <a:r>
              <a:rPr lang="sv-SE" sz="1800" dirty="0"/>
              <a:t>Informerar </a:t>
            </a:r>
            <a:r>
              <a:rPr lang="sv-SE" sz="1800" dirty="0" smtClean="0"/>
              <a:t>vi närstående </a:t>
            </a:r>
            <a:r>
              <a:rPr lang="sv-SE" sz="1800" dirty="0"/>
              <a:t>till </a:t>
            </a:r>
            <a:r>
              <a:rPr lang="sv-SE" sz="1800" dirty="0" smtClean="0"/>
              <a:t>barn/vuxna </a:t>
            </a:r>
            <a:r>
              <a:rPr lang="sv-SE" sz="1800" dirty="0"/>
              <a:t>med </a:t>
            </a:r>
            <a:r>
              <a:rPr lang="sv-SE" sz="1800" dirty="0" smtClean="0"/>
              <a:t>ADHD om </a:t>
            </a:r>
            <a:r>
              <a:rPr lang="sv-SE" sz="1800" dirty="0"/>
              <a:t>stöd som kan erbjudas av andra huvudmän?</a:t>
            </a:r>
          </a:p>
          <a:p>
            <a:endParaRPr lang="sv-SE" sz="2100" dirty="0" smtClean="0"/>
          </a:p>
          <a:p>
            <a:r>
              <a:rPr lang="sv-SE" sz="1800" dirty="0" smtClean="0"/>
              <a:t>Informerar </a:t>
            </a:r>
            <a:r>
              <a:rPr lang="sv-SE" sz="1800" dirty="0"/>
              <a:t>vi närstående till barn/vuxna</a:t>
            </a:r>
            <a:r>
              <a:rPr lang="sv-SE" sz="1800" b="1" dirty="0" smtClean="0"/>
              <a:t> </a:t>
            </a:r>
            <a:r>
              <a:rPr lang="sv-SE" sz="1800" dirty="0"/>
              <a:t>med </a:t>
            </a:r>
            <a:r>
              <a:rPr lang="sv-SE" sz="1800" dirty="0" smtClean="0"/>
              <a:t>autism </a:t>
            </a:r>
            <a:r>
              <a:rPr lang="sv-SE" sz="1800" dirty="0"/>
              <a:t>om stöd som kan erbjudas av andra huvudmän?</a:t>
            </a:r>
          </a:p>
          <a:p>
            <a:endParaRPr lang="sv-SE" sz="1800" dirty="0"/>
          </a:p>
          <a:p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273913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1291800" cy="1143000"/>
          </a:xfrm>
        </p:spPr>
        <p:txBody>
          <a:bodyPr>
            <a:normAutofit/>
          </a:bodyPr>
          <a:lstStyle/>
          <a:p>
            <a:r>
              <a:rPr lang="sv-SE" sz="3200" dirty="0"/>
              <a:t>GAP analys </a:t>
            </a:r>
            <a:r>
              <a:rPr lang="sv-SE" sz="3200" dirty="0" smtClean="0"/>
              <a:t>socialtjänst:  Psykosociala insatser och kognitivt stöd   </a:t>
            </a:r>
            <a:endParaRPr lang="sv-SE" sz="32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17172" y="2304866"/>
            <a:ext cx="10972800" cy="3744415"/>
          </a:xfrm>
        </p:spPr>
        <p:txBody>
          <a:bodyPr>
            <a:normAutofit/>
          </a:bodyPr>
          <a:lstStyle/>
          <a:p>
            <a:r>
              <a:rPr lang="sv-SE" sz="1800" dirty="0"/>
              <a:t>Informerar vi närstående till barn/vuxna med ADHD om stöd som kan erbjudas av andra huvudmän?</a:t>
            </a:r>
          </a:p>
          <a:p>
            <a:endParaRPr lang="sv-SE" sz="2100" dirty="0"/>
          </a:p>
          <a:p>
            <a:r>
              <a:rPr lang="sv-SE" sz="1800" dirty="0"/>
              <a:t>Informerar vi närstående till barn/vuxna</a:t>
            </a:r>
            <a:r>
              <a:rPr lang="sv-SE" sz="1800" b="1" dirty="0"/>
              <a:t> </a:t>
            </a:r>
            <a:r>
              <a:rPr lang="sv-SE" sz="1800" dirty="0"/>
              <a:t>med autism om stöd som kan erbjudas av andra huvudmän?</a:t>
            </a:r>
          </a:p>
          <a:p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1390476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1291800" cy="1143000"/>
          </a:xfrm>
        </p:spPr>
        <p:txBody>
          <a:bodyPr>
            <a:normAutofit/>
          </a:bodyPr>
          <a:lstStyle/>
          <a:p>
            <a:r>
              <a:rPr lang="sv-SE" sz="3200" dirty="0"/>
              <a:t>GAP analys </a:t>
            </a:r>
            <a:r>
              <a:rPr lang="sv-SE" sz="3200" dirty="0" smtClean="0"/>
              <a:t>socialtjänst:  </a:t>
            </a:r>
            <a:r>
              <a:rPr lang="sv-SE" sz="3200" dirty="0"/>
              <a:t>Psykosociala insatser och kognitivt stöd 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17172" y="2304866"/>
            <a:ext cx="10972800" cy="3744415"/>
          </a:xfrm>
        </p:spPr>
        <p:txBody>
          <a:bodyPr>
            <a:normAutofit/>
          </a:bodyPr>
          <a:lstStyle/>
          <a:p>
            <a:r>
              <a:rPr lang="sv-SE" sz="1800" dirty="0"/>
              <a:t>Erbjuder </a:t>
            </a:r>
            <a:r>
              <a:rPr lang="sv-SE" sz="1800" dirty="0" smtClean="0"/>
              <a:t>vi boendestöd </a:t>
            </a:r>
            <a:r>
              <a:rPr lang="sv-SE" sz="1800" dirty="0"/>
              <a:t>till </a:t>
            </a:r>
            <a:r>
              <a:rPr lang="sv-SE" sz="1800" b="1" dirty="0"/>
              <a:t>vuxna </a:t>
            </a:r>
            <a:r>
              <a:rPr lang="sv-SE" sz="1800" dirty="0"/>
              <a:t>med </a:t>
            </a:r>
            <a:r>
              <a:rPr lang="sv-SE" sz="1800" dirty="0" smtClean="0"/>
              <a:t>ADHD som </a:t>
            </a:r>
            <a:r>
              <a:rPr lang="sv-SE" sz="1800" dirty="0"/>
              <a:t>har svårigheter att hantera sin vardag i hemmet?</a:t>
            </a:r>
          </a:p>
          <a:p>
            <a:endParaRPr lang="sv-SE" sz="1900" dirty="0"/>
          </a:p>
          <a:p>
            <a:r>
              <a:rPr lang="sv-SE" sz="1800" dirty="0"/>
              <a:t>Erbjuder vi boendestöd till </a:t>
            </a:r>
            <a:r>
              <a:rPr lang="sv-SE" sz="1800" b="1" dirty="0"/>
              <a:t>vuxna</a:t>
            </a:r>
            <a:r>
              <a:rPr lang="sv-SE" sz="1800" dirty="0"/>
              <a:t> med </a:t>
            </a:r>
            <a:r>
              <a:rPr lang="sv-SE" sz="1800" dirty="0" smtClean="0"/>
              <a:t>autism </a:t>
            </a:r>
            <a:r>
              <a:rPr lang="sv-SE" sz="1800" dirty="0"/>
              <a:t>som har svårigheter att hantera sin vardag i hemmet?</a:t>
            </a:r>
          </a:p>
          <a:p>
            <a:endParaRPr lang="sv-SE" sz="1800" dirty="0" smtClean="0"/>
          </a:p>
          <a:p>
            <a:endParaRPr lang="sv-SE" sz="1800" dirty="0"/>
          </a:p>
          <a:p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3513322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1291800" cy="1143000"/>
          </a:xfrm>
        </p:spPr>
        <p:txBody>
          <a:bodyPr>
            <a:normAutofit/>
          </a:bodyPr>
          <a:lstStyle/>
          <a:p>
            <a:r>
              <a:rPr lang="sv-SE" sz="3200" dirty="0"/>
              <a:t>GAP analys </a:t>
            </a:r>
            <a:r>
              <a:rPr lang="sv-SE" sz="3200" dirty="0" smtClean="0"/>
              <a:t>region:  Psykologiska insatser </a:t>
            </a:r>
            <a:endParaRPr lang="sv-SE" sz="32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17172" y="2304866"/>
            <a:ext cx="10972800" cy="3744415"/>
          </a:xfrm>
        </p:spPr>
        <p:txBody>
          <a:bodyPr>
            <a:normAutofit/>
          </a:bodyPr>
          <a:lstStyle/>
          <a:p>
            <a:r>
              <a:rPr lang="sv-SE" sz="1800" dirty="0"/>
              <a:t>Erbjuder </a:t>
            </a:r>
            <a:r>
              <a:rPr lang="sv-SE" sz="1800" dirty="0" smtClean="0"/>
              <a:t>vi </a:t>
            </a:r>
            <a:r>
              <a:rPr lang="sv-SE" sz="1800" dirty="0" err="1" smtClean="0"/>
              <a:t>psykoedukation</a:t>
            </a:r>
            <a:r>
              <a:rPr lang="sv-SE" sz="1800" dirty="0" smtClean="0"/>
              <a:t> </a:t>
            </a:r>
            <a:r>
              <a:rPr lang="sv-SE" sz="1800" dirty="0"/>
              <a:t>till </a:t>
            </a:r>
            <a:r>
              <a:rPr lang="sv-SE" sz="1800" b="1" dirty="0"/>
              <a:t>barn </a:t>
            </a:r>
            <a:r>
              <a:rPr lang="sv-SE" sz="1800" dirty="0"/>
              <a:t>med </a:t>
            </a:r>
            <a:r>
              <a:rPr lang="sv-SE" sz="1800" dirty="0" smtClean="0"/>
              <a:t>ADHD?</a:t>
            </a:r>
          </a:p>
          <a:p>
            <a:endParaRPr lang="sv-SE" sz="1800" dirty="0"/>
          </a:p>
          <a:p>
            <a:r>
              <a:rPr lang="sv-SE" sz="1800" dirty="0"/>
              <a:t>Erbjuder vi </a:t>
            </a:r>
            <a:r>
              <a:rPr lang="sv-SE" sz="1800" dirty="0" err="1"/>
              <a:t>psykoedukation</a:t>
            </a:r>
            <a:r>
              <a:rPr lang="sv-SE" sz="1800" dirty="0"/>
              <a:t> till </a:t>
            </a:r>
            <a:r>
              <a:rPr lang="sv-SE" sz="1800" b="1" dirty="0" smtClean="0"/>
              <a:t>barn</a:t>
            </a:r>
            <a:r>
              <a:rPr lang="sv-SE" sz="1800" dirty="0" smtClean="0"/>
              <a:t> </a:t>
            </a:r>
            <a:r>
              <a:rPr lang="sv-SE" sz="1800" dirty="0"/>
              <a:t>med </a:t>
            </a:r>
            <a:r>
              <a:rPr lang="sv-SE" sz="1800" dirty="0" smtClean="0"/>
              <a:t>autism?</a:t>
            </a:r>
          </a:p>
          <a:p>
            <a:endParaRPr lang="sv-SE" sz="1800" dirty="0"/>
          </a:p>
          <a:p>
            <a:r>
              <a:rPr lang="sv-SE" sz="1800" dirty="0"/>
              <a:t>Erbjuder </a:t>
            </a:r>
            <a:r>
              <a:rPr lang="sv-SE" sz="1800" dirty="0" smtClean="0"/>
              <a:t>vi </a:t>
            </a:r>
            <a:r>
              <a:rPr lang="sv-SE" sz="1800" dirty="0" err="1" smtClean="0"/>
              <a:t>psykoedukation</a:t>
            </a:r>
            <a:r>
              <a:rPr lang="sv-SE" sz="1800" dirty="0" smtClean="0"/>
              <a:t> </a:t>
            </a:r>
            <a:r>
              <a:rPr lang="sv-SE" sz="1800" dirty="0"/>
              <a:t>till </a:t>
            </a:r>
            <a:r>
              <a:rPr lang="sv-SE" sz="1800" b="1" dirty="0"/>
              <a:t>närstående med barn </a:t>
            </a:r>
            <a:r>
              <a:rPr lang="sv-SE" sz="1800" dirty="0"/>
              <a:t>med </a:t>
            </a:r>
            <a:r>
              <a:rPr lang="sv-SE" sz="1800" dirty="0" smtClean="0"/>
              <a:t>autism?</a:t>
            </a:r>
          </a:p>
          <a:p>
            <a:endParaRPr lang="sv-SE" sz="1800" dirty="0"/>
          </a:p>
          <a:p>
            <a:r>
              <a:rPr lang="sv-SE" sz="1800" dirty="0"/>
              <a:t>Erbjuder vi </a:t>
            </a:r>
            <a:r>
              <a:rPr lang="sv-SE" sz="1800" dirty="0" err="1"/>
              <a:t>psykoedukation</a:t>
            </a:r>
            <a:r>
              <a:rPr lang="sv-SE" sz="1800" dirty="0"/>
              <a:t> till </a:t>
            </a:r>
            <a:r>
              <a:rPr lang="sv-SE" sz="1800" b="1" dirty="0"/>
              <a:t>närstående med barn </a:t>
            </a:r>
            <a:r>
              <a:rPr lang="sv-SE" sz="1800" dirty="0"/>
              <a:t>med </a:t>
            </a:r>
            <a:r>
              <a:rPr lang="sv-SE" sz="1800" dirty="0" smtClean="0"/>
              <a:t>autism?</a:t>
            </a:r>
            <a:endParaRPr lang="sv-SE" sz="1800" dirty="0"/>
          </a:p>
          <a:p>
            <a:r>
              <a:rPr lang="sv-SE" sz="1800" dirty="0" smtClean="0"/>
              <a:t> </a:t>
            </a:r>
          </a:p>
          <a:p>
            <a:r>
              <a:rPr lang="sv-SE" sz="1800" dirty="0"/>
              <a:t>Erbjuder vi </a:t>
            </a:r>
            <a:r>
              <a:rPr lang="sv-SE" sz="1800" dirty="0" err="1"/>
              <a:t>psykoedukation</a:t>
            </a:r>
            <a:r>
              <a:rPr lang="sv-SE" sz="1800" dirty="0"/>
              <a:t> till </a:t>
            </a:r>
            <a:r>
              <a:rPr lang="sv-SE" sz="1800" b="1" dirty="0" smtClean="0"/>
              <a:t>vuxna</a:t>
            </a:r>
            <a:r>
              <a:rPr lang="sv-SE" sz="1800" dirty="0" smtClean="0"/>
              <a:t> </a:t>
            </a:r>
            <a:r>
              <a:rPr lang="sv-SE" sz="1800" dirty="0"/>
              <a:t>med ADHD?</a:t>
            </a:r>
          </a:p>
          <a:p>
            <a:endParaRPr lang="sv-SE" sz="1800" dirty="0"/>
          </a:p>
          <a:p>
            <a:r>
              <a:rPr lang="sv-SE" sz="1800" dirty="0"/>
              <a:t>Erbjuder vi </a:t>
            </a:r>
            <a:r>
              <a:rPr lang="sv-SE" sz="1800" dirty="0" err="1"/>
              <a:t>psykoedukation</a:t>
            </a:r>
            <a:r>
              <a:rPr lang="sv-SE" sz="1800" dirty="0"/>
              <a:t> till </a:t>
            </a:r>
            <a:r>
              <a:rPr lang="sv-SE" sz="1800" b="1" dirty="0" smtClean="0"/>
              <a:t>vuxna</a:t>
            </a:r>
            <a:r>
              <a:rPr lang="sv-SE" sz="1800" dirty="0" smtClean="0"/>
              <a:t> </a:t>
            </a:r>
            <a:r>
              <a:rPr lang="sv-SE" sz="1800" dirty="0"/>
              <a:t>med </a:t>
            </a:r>
            <a:r>
              <a:rPr lang="sv-SE" sz="1800" dirty="0" smtClean="0"/>
              <a:t>autism?</a:t>
            </a:r>
            <a:endParaRPr lang="sv-SE" sz="1800" dirty="0"/>
          </a:p>
          <a:p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42292068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1291800" cy="1143000"/>
          </a:xfrm>
        </p:spPr>
        <p:txBody>
          <a:bodyPr>
            <a:normAutofit/>
          </a:bodyPr>
          <a:lstStyle/>
          <a:p>
            <a:r>
              <a:rPr lang="sv-SE" sz="3200" dirty="0"/>
              <a:t>GAP analys </a:t>
            </a:r>
            <a:r>
              <a:rPr lang="sv-SE" sz="3200" dirty="0" smtClean="0"/>
              <a:t>region:  Psykologiska insatser </a:t>
            </a:r>
            <a:endParaRPr lang="sv-SE" sz="32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17172" y="2304866"/>
            <a:ext cx="10972800" cy="3744415"/>
          </a:xfrm>
        </p:spPr>
        <p:txBody>
          <a:bodyPr>
            <a:normAutofit/>
          </a:bodyPr>
          <a:lstStyle/>
          <a:p>
            <a:r>
              <a:rPr lang="sv-SE" sz="1800" dirty="0"/>
              <a:t>Erbjuder </a:t>
            </a:r>
            <a:r>
              <a:rPr lang="sv-SE" sz="1800" dirty="0" smtClean="0"/>
              <a:t>vi mångsidiga </a:t>
            </a:r>
            <a:r>
              <a:rPr lang="sv-SE" sz="1800" dirty="0"/>
              <a:t>intensiva beteendeinsatser (EIBI) till </a:t>
            </a:r>
            <a:r>
              <a:rPr lang="sv-SE" sz="1800" b="1" dirty="0"/>
              <a:t>barn</a:t>
            </a:r>
            <a:r>
              <a:rPr lang="sv-SE" sz="1800" dirty="0"/>
              <a:t> (0-5 år) med autism?</a:t>
            </a:r>
          </a:p>
          <a:p>
            <a:endParaRPr lang="sv-SE" sz="1900" dirty="0"/>
          </a:p>
          <a:p>
            <a:endParaRPr lang="sv-SE" sz="1900" dirty="0"/>
          </a:p>
          <a:p>
            <a:endParaRPr lang="sv-SE" sz="1800" dirty="0" smtClean="0"/>
          </a:p>
          <a:p>
            <a:endParaRPr lang="sv-SE" sz="1800" dirty="0"/>
          </a:p>
          <a:p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3879083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1291800" cy="1143000"/>
          </a:xfrm>
        </p:spPr>
        <p:txBody>
          <a:bodyPr>
            <a:normAutofit/>
          </a:bodyPr>
          <a:lstStyle/>
          <a:p>
            <a:r>
              <a:rPr lang="sv-SE" sz="3200" dirty="0"/>
              <a:t>GAP analys </a:t>
            </a:r>
            <a:r>
              <a:rPr lang="sv-SE" sz="3200" dirty="0" smtClean="0"/>
              <a:t>region:  Psykologiska insatser </a:t>
            </a:r>
            <a:endParaRPr lang="sv-SE" sz="32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17172" y="2304866"/>
            <a:ext cx="10972800" cy="3744415"/>
          </a:xfrm>
        </p:spPr>
        <p:txBody>
          <a:bodyPr>
            <a:normAutofit/>
          </a:bodyPr>
          <a:lstStyle/>
          <a:p>
            <a:r>
              <a:rPr lang="sv-SE" sz="1800" dirty="0"/>
              <a:t>Erbjuder </a:t>
            </a:r>
            <a:r>
              <a:rPr lang="sv-SE" sz="1800" dirty="0" smtClean="0"/>
              <a:t>vi kognitiv </a:t>
            </a:r>
            <a:r>
              <a:rPr lang="sv-SE" sz="1800" dirty="0"/>
              <a:t>beteendeterapi (KBT) anpassad för </a:t>
            </a:r>
            <a:r>
              <a:rPr lang="sv-SE" sz="1800" b="1" dirty="0"/>
              <a:t>barn</a:t>
            </a:r>
            <a:r>
              <a:rPr lang="sv-SE" sz="1800" dirty="0"/>
              <a:t> med autism och samtidiga symtom på ångest?</a:t>
            </a:r>
          </a:p>
          <a:p>
            <a:endParaRPr lang="sv-SE" sz="1900" dirty="0"/>
          </a:p>
          <a:p>
            <a:endParaRPr lang="sv-SE" sz="1900" dirty="0"/>
          </a:p>
          <a:p>
            <a:endParaRPr lang="sv-SE" sz="1800" dirty="0" smtClean="0"/>
          </a:p>
          <a:p>
            <a:endParaRPr lang="sv-SE" sz="1800" dirty="0"/>
          </a:p>
          <a:p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699062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48331" y="554907"/>
            <a:ext cx="10972800" cy="1143000"/>
          </a:xfrm>
        </p:spPr>
        <p:txBody>
          <a:bodyPr>
            <a:normAutofit/>
          </a:bodyPr>
          <a:lstStyle/>
          <a:p>
            <a:r>
              <a:rPr lang="sv-SE" sz="2800" dirty="0"/>
              <a:t>Antal unika individer som fått diagnos registrerad per angivet år. Utsökt på huvud/bidiagnos</a:t>
            </a:r>
          </a:p>
        </p:txBody>
      </p:sp>
      <p:graphicFrame>
        <p:nvGraphicFramePr>
          <p:cNvPr id="4" name="Diagram 3"/>
          <p:cNvGraphicFramePr>
            <a:graphicFrameLocks/>
          </p:cNvGraphicFramePr>
          <p:nvPr>
            <p:extLst/>
          </p:nvPr>
        </p:nvGraphicFramePr>
        <p:xfrm>
          <a:off x="2072812" y="1825625"/>
          <a:ext cx="7511761" cy="4242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222436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1291800" cy="1143000"/>
          </a:xfrm>
        </p:spPr>
        <p:txBody>
          <a:bodyPr>
            <a:normAutofit/>
          </a:bodyPr>
          <a:lstStyle/>
          <a:p>
            <a:r>
              <a:rPr lang="sv-SE" sz="3200" dirty="0"/>
              <a:t>GAP analys </a:t>
            </a:r>
            <a:r>
              <a:rPr lang="sv-SE" sz="3200" dirty="0" smtClean="0"/>
              <a:t>region:  Psykologiska insatser </a:t>
            </a:r>
            <a:endParaRPr lang="sv-SE" sz="32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17172" y="2304866"/>
            <a:ext cx="10972800" cy="3744415"/>
          </a:xfrm>
        </p:spPr>
        <p:txBody>
          <a:bodyPr>
            <a:normAutofit/>
          </a:bodyPr>
          <a:lstStyle/>
          <a:p>
            <a:r>
              <a:rPr lang="sv-SE" sz="1800" dirty="0"/>
              <a:t>Erbjuder </a:t>
            </a:r>
            <a:r>
              <a:rPr lang="sv-SE" sz="1800" dirty="0" smtClean="0"/>
              <a:t>vi kognitiv </a:t>
            </a:r>
            <a:r>
              <a:rPr lang="sv-SE" sz="1800" dirty="0"/>
              <a:t>beteendeterapi (KBT) inriktad på </a:t>
            </a:r>
            <a:r>
              <a:rPr lang="sv-SE" sz="1800" dirty="0" smtClean="0"/>
              <a:t>ADHD-symtom </a:t>
            </a:r>
            <a:r>
              <a:rPr lang="sv-SE" sz="1800" dirty="0"/>
              <a:t>till </a:t>
            </a:r>
            <a:r>
              <a:rPr lang="sv-SE" sz="1800" b="1" dirty="0"/>
              <a:t>vuxna</a:t>
            </a:r>
            <a:r>
              <a:rPr lang="sv-SE" sz="1800" dirty="0"/>
              <a:t> med </a:t>
            </a:r>
            <a:r>
              <a:rPr lang="sv-SE" sz="1800" dirty="0" smtClean="0"/>
              <a:t>ADHD?</a:t>
            </a:r>
            <a:endParaRPr lang="sv-SE" sz="1800" dirty="0"/>
          </a:p>
          <a:p>
            <a:endParaRPr lang="sv-SE" sz="1900" dirty="0"/>
          </a:p>
          <a:p>
            <a:endParaRPr lang="sv-SE" sz="1900" dirty="0"/>
          </a:p>
          <a:p>
            <a:endParaRPr lang="sv-SE" sz="1800" dirty="0" smtClean="0"/>
          </a:p>
          <a:p>
            <a:endParaRPr lang="sv-SE" sz="1800" dirty="0"/>
          </a:p>
          <a:p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2764571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1291800" cy="1143000"/>
          </a:xfrm>
        </p:spPr>
        <p:txBody>
          <a:bodyPr>
            <a:normAutofit/>
          </a:bodyPr>
          <a:lstStyle/>
          <a:p>
            <a:r>
              <a:rPr lang="sv-SE" sz="3200" dirty="0"/>
              <a:t>GAP analys </a:t>
            </a:r>
            <a:r>
              <a:rPr lang="sv-SE" sz="3200" dirty="0" smtClean="0"/>
              <a:t>region:  Psykologiska insatser </a:t>
            </a:r>
            <a:endParaRPr lang="sv-SE" sz="32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17172" y="2304866"/>
            <a:ext cx="10972800" cy="3744415"/>
          </a:xfrm>
        </p:spPr>
        <p:txBody>
          <a:bodyPr>
            <a:normAutofit/>
          </a:bodyPr>
          <a:lstStyle/>
          <a:p>
            <a:r>
              <a:rPr lang="sv-SE" sz="1800" dirty="0"/>
              <a:t>Erbjuder </a:t>
            </a:r>
            <a:r>
              <a:rPr lang="sv-SE" sz="1800" dirty="0" smtClean="0"/>
              <a:t>vi social </a:t>
            </a:r>
            <a:r>
              <a:rPr lang="sv-SE" sz="1800" dirty="0"/>
              <a:t>färdighetsträning </a:t>
            </a:r>
            <a:r>
              <a:rPr lang="sv-SE" sz="1800" dirty="0" smtClean="0"/>
              <a:t>(manualbaserad) till </a:t>
            </a:r>
            <a:r>
              <a:rPr lang="sv-SE" sz="1800" b="1" dirty="0"/>
              <a:t>barn</a:t>
            </a:r>
            <a:r>
              <a:rPr lang="sv-SE" sz="1800" dirty="0"/>
              <a:t> med </a:t>
            </a:r>
            <a:r>
              <a:rPr lang="sv-SE" sz="1800" dirty="0" smtClean="0"/>
              <a:t>ADHD som </a:t>
            </a:r>
            <a:r>
              <a:rPr lang="sv-SE" sz="1800" dirty="0"/>
              <a:t>har nedsatt social samspelsförmåga och saknar intellektuell funktionsnedsättning?</a:t>
            </a:r>
          </a:p>
          <a:p>
            <a:endParaRPr lang="sv-SE" sz="1900" dirty="0"/>
          </a:p>
          <a:p>
            <a:endParaRPr lang="sv-SE" sz="1900" dirty="0"/>
          </a:p>
          <a:p>
            <a:r>
              <a:rPr lang="sv-SE" sz="1800" dirty="0"/>
              <a:t>Erbjuder vi social färdighetsträning (manualbaserad) till </a:t>
            </a:r>
            <a:r>
              <a:rPr lang="sv-SE" sz="1800" b="1" dirty="0"/>
              <a:t>barn</a:t>
            </a:r>
            <a:r>
              <a:rPr lang="sv-SE" sz="1800" dirty="0"/>
              <a:t> med </a:t>
            </a:r>
            <a:r>
              <a:rPr lang="sv-SE" sz="1800" dirty="0" smtClean="0"/>
              <a:t>autism </a:t>
            </a:r>
            <a:r>
              <a:rPr lang="sv-SE" sz="1800" dirty="0"/>
              <a:t>som har nedsatt social samspelsförmåga och saknar intellektuell funktionsnedsättning?</a:t>
            </a:r>
          </a:p>
          <a:p>
            <a:endParaRPr lang="sv-SE" sz="1800" dirty="0" smtClean="0"/>
          </a:p>
          <a:p>
            <a:endParaRPr lang="sv-SE" sz="1800" dirty="0"/>
          </a:p>
          <a:p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2612310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1291800" cy="1143000"/>
          </a:xfrm>
        </p:spPr>
        <p:txBody>
          <a:bodyPr>
            <a:normAutofit/>
          </a:bodyPr>
          <a:lstStyle/>
          <a:p>
            <a:r>
              <a:rPr lang="sv-SE" sz="3200" dirty="0"/>
              <a:t>GAP analys </a:t>
            </a:r>
            <a:r>
              <a:rPr lang="sv-SE" sz="3200" dirty="0" smtClean="0"/>
              <a:t>elevhälsa:  Psykologiska insatser </a:t>
            </a:r>
            <a:endParaRPr lang="sv-SE" sz="32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17172" y="2304866"/>
            <a:ext cx="10972800" cy="3744415"/>
          </a:xfrm>
        </p:spPr>
        <p:txBody>
          <a:bodyPr>
            <a:normAutofit/>
          </a:bodyPr>
          <a:lstStyle/>
          <a:p>
            <a:r>
              <a:rPr lang="sv-SE" sz="1800" dirty="0"/>
              <a:t>Erbjuder </a:t>
            </a:r>
            <a:r>
              <a:rPr lang="sv-SE" sz="1800" dirty="0" smtClean="0"/>
              <a:t>vi social </a:t>
            </a:r>
            <a:r>
              <a:rPr lang="sv-SE" sz="1800" dirty="0"/>
              <a:t>färdighetsträning </a:t>
            </a:r>
            <a:r>
              <a:rPr lang="sv-SE" sz="1800" dirty="0" smtClean="0"/>
              <a:t>(manualbaserad) till </a:t>
            </a:r>
            <a:r>
              <a:rPr lang="sv-SE" sz="1800" b="1" dirty="0"/>
              <a:t>barn</a:t>
            </a:r>
            <a:r>
              <a:rPr lang="sv-SE" sz="1800" dirty="0"/>
              <a:t> med </a:t>
            </a:r>
            <a:r>
              <a:rPr lang="sv-SE" sz="1800" dirty="0" smtClean="0"/>
              <a:t>ADHD som </a:t>
            </a:r>
            <a:r>
              <a:rPr lang="sv-SE" sz="1800" dirty="0"/>
              <a:t>har nedsatt social samspelsförmåga och saknar intellektuell funktionsnedsättning?</a:t>
            </a:r>
          </a:p>
          <a:p>
            <a:endParaRPr lang="sv-SE" sz="1900" dirty="0"/>
          </a:p>
          <a:p>
            <a:endParaRPr lang="sv-SE" sz="1900" dirty="0"/>
          </a:p>
          <a:p>
            <a:r>
              <a:rPr lang="sv-SE" sz="1800" dirty="0"/>
              <a:t>Erbjuder vi social färdighetsträning (manualbaserad) till </a:t>
            </a:r>
            <a:r>
              <a:rPr lang="sv-SE" sz="1800" b="1" dirty="0"/>
              <a:t>barn</a:t>
            </a:r>
            <a:r>
              <a:rPr lang="sv-SE" sz="1800" dirty="0"/>
              <a:t> med </a:t>
            </a:r>
            <a:r>
              <a:rPr lang="sv-SE" sz="1800" dirty="0" smtClean="0"/>
              <a:t>autism </a:t>
            </a:r>
            <a:r>
              <a:rPr lang="sv-SE" sz="1800" dirty="0"/>
              <a:t>som har nedsatt social samspelsförmåga och saknar intellektuell funktionsnedsättning?</a:t>
            </a:r>
          </a:p>
          <a:p>
            <a:endParaRPr lang="sv-SE" sz="1800" dirty="0" smtClean="0"/>
          </a:p>
          <a:p>
            <a:endParaRPr lang="sv-SE" sz="1800" dirty="0"/>
          </a:p>
          <a:p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2162405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1291800" cy="1143000"/>
          </a:xfrm>
        </p:spPr>
        <p:txBody>
          <a:bodyPr>
            <a:normAutofit/>
          </a:bodyPr>
          <a:lstStyle/>
          <a:p>
            <a:r>
              <a:rPr lang="sv-SE" sz="3200" dirty="0"/>
              <a:t>GAP analys </a:t>
            </a:r>
            <a:r>
              <a:rPr lang="sv-SE" sz="3200" dirty="0" smtClean="0"/>
              <a:t>region:  Psykologiska insatser </a:t>
            </a:r>
            <a:endParaRPr lang="sv-SE" sz="32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17172" y="2304866"/>
            <a:ext cx="10972800" cy="3744415"/>
          </a:xfrm>
        </p:spPr>
        <p:txBody>
          <a:bodyPr>
            <a:normAutofit/>
          </a:bodyPr>
          <a:lstStyle/>
          <a:p>
            <a:r>
              <a:rPr lang="sv-SE" sz="1800" dirty="0"/>
              <a:t>Erbjuder </a:t>
            </a:r>
            <a:r>
              <a:rPr lang="sv-SE" sz="1800" dirty="0" smtClean="0"/>
              <a:t>vi kognitiv </a:t>
            </a:r>
            <a:r>
              <a:rPr lang="sv-SE" sz="1800" dirty="0"/>
              <a:t>beteendeterapi (KBT) inriktad på </a:t>
            </a:r>
            <a:r>
              <a:rPr lang="sv-SE" sz="1800" dirty="0" smtClean="0"/>
              <a:t>ADHD-symtom </a:t>
            </a:r>
            <a:r>
              <a:rPr lang="sv-SE" sz="1800" dirty="0"/>
              <a:t>till </a:t>
            </a:r>
            <a:r>
              <a:rPr lang="sv-SE" sz="1800" b="1" dirty="0"/>
              <a:t>barn </a:t>
            </a:r>
            <a:r>
              <a:rPr lang="sv-SE" sz="1800" dirty="0" smtClean="0"/>
              <a:t>med </a:t>
            </a:r>
            <a:r>
              <a:rPr lang="sv-SE" sz="1800" dirty="0"/>
              <a:t>ADHD</a:t>
            </a:r>
            <a:r>
              <a:rPr lang="sv-SE" sz="1800" dirty="0" smtClean="0"/>
              <a:t>?</a:t>
            </a:r>
            <a:endParaRPr lang="sv-SE" sz="1800" dirty="0"/>
          </a:p>
          <a:p>
            <a:endParaRPr lang="sv-SE" sz="1900" dirty="0"/>
          </a:p>
          <a:p>
            <a:endParaRPr lang="sv-SE" sz="1900" dirty="0"/>
          </a:p>
          <a:p>
            <a:endParaRPr lang="sv-SE" sz="1800" dirty="0" smtClean="0"/>
          </a:p>
          <a:p>
            <a:endParaRPr lang="sv-SE" sz="1800" dirty="0"/>
          </a:p>
          <a:p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466099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1291800" cy="1143000"/>
          </a:xfrm>
        </p:spPr>
        <p:txBody>
          <a:bodyPr>
            <a:normAutofit/>
          </a:bodyPr>
          <a:lstStyle/>
          <a:p>
            <a:r>
              <a:rPr lang="sv-SE" sz="3200" dirty="0"/>
              <a:t>GAP analys </a:t>
            </a:r>
            <a:r>
              <a:rPr lang="sv-SE" sz="3200" dirty="0" smtClean="0"/>
              <a:t>region:  Psykologiska insatser </a:t>
            </a:r>
            <a:endParaRPr lang="sv-SE" sz="32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58620" y="2304866"/>
            <a:ext cx="11431352" cy="3744415"/>
          </a:xfrm>
        </p:spPr>
        <p:txBody>
          <a:bodyPr>
            <a:normAutofit/>
          </a:bodyPr>
          <a:lstStyle/>
          <a:p>
            <a:r>
              <a:rPr lang="sv-SE" sz="1800" dirty="0"/>
              <a:t>Erbjuder </a:t>
            </a:r>
            <a:r>
              <a:rPr lang="sv-SE" sz="1800" dirty="0" smtClean="0"/>
              <a:t>vi kognitiv </a:t>
            </a:r>
            <a:r>
              <a:rPr lang="sv-SE" sz="1800" dirty="0"/>
              <a:t>beteendeterapi (KBT) anpassad för </a:t>
            </a:r>
            <a:r>
              <a:rPr lang="sv-SE" sz="1800" b="1" dirty="0"/>
              <a:t>barn</a:t>
            </a:r>
            <a:r>
              <a:rPr lang="sv-SE" sz="1800" dirty="0"/>
              <a:t> med autism och samtidiga symtom på </a:t>
            </a:r>
            <a:r>
              <a:rPr lang="sv-SE" sz="1800" dirty="0" err="1"/>
              <a:t>insomni</a:t>
            </a:r>
            <a:r>
              <a:rPr lang="sv-SE" sz="1800" dirty="0"/>
              <a:t>?</a:t>
            </a:r>
          </a:p>
          <a:p>
            <a:endParaRPr lang="sv-SE" sz="1900" dirty="0"/>
          </a:p>
          <a:p>
            <a:endParaRPr lang="sv-SE" sz="1900" dirty="0"/>
          </a:p>
          <a:p>
            <a:endParaRPr lang="sv-SE" sz="1800" dirty="0" smtClean="0"/>
          </a:p>
          <a:p>
            <a:endParaRPr lang="sv-SE" sz="1800" dirty="0"/>
          </a:p>
          <a:p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520388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1291800" cy="1143000"/>
          </a:xfrm>
        </p:spPr>
        <p:txBody>
          <a:bodyPr>
            <a:normAutofit/>
          </a:bodyPr>
          <a:lstStyle/>
          <a:p>
            <a:pPr algn="ctr"/>
            <a:r>
              <a:rPr lang="sv-SE" sz="3200" dirty="0" smtClean="0"/>
              <a:t>Läkemedel och medicintekniska produkter </a:t>
            </a:r>
            <a:endParaRPr lang="sv-SE" sz="32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17172" y="2304866"/>
            <a:ext cx="10972800" cy="3744415"/>
          </a:xfrm>
        </p:spPr>
        <p:txBody>
          <a:bodyPr>
            <a:normAutofit/>
          </a:bodyPr>
          <a:lstStyle/>
          <a:p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753174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latshållare för innehåll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041546" y="1102418"/>
            <a:ext cx="8108908" cy="4351338"/>
          </a:xfrm>
          <a:prstGeom prst="rect">
            <a:avLst/>
          </a:prstGeom>
        </p:spPr>
      </p:pic>
      <p:sp>
        <p:nvSpPr>
          <p:cNvPr id="5" name="textruta 4"/>
          <p:cNvSpPr txBox="1"/>
          <p:nvPr/>
        </p:nvSpPr>
        <p:spPr>
          <a:xfrm>
            <a:off x="436502" y="5334397"/>
            <a:ext cx="869511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 err="1" smtClean="0"/>
              <a:t>Guanfacin</a:t>
            </a:r>
            <a:r>
              <a:rPr lang="sv-SE" sz="1200" dirty="0" smtClean="0"/>
              <a:t>: </a:t>
            </a:r>
            <a:r>
              <a:rPr lang="sv-SE" sz="1200" dirty="0" err="1" smtClean="0"/>
              <a:t>Intuniv</a:t>
            </a:r>
            <a:endParaRPr lang="sv-SE" sz="1200" dirty="0" smtClean="0"/>
          </a:p>
          <a:p>
            <a:r>
              <a:rPr lang="sv-SE" sz="1200" dirty="0" smtClean="0"/>
              <a:t>Dexamfetamin: </a:t>
            </a:r>
            <a:r>
              <a:rPr lang="sv-SE" sz="1200" dirty="0" err="1" smtClean="0"/>
              <a:t>Attentin</a:t>
            </a:r>
            <a:r>
              <a:rPr lang="sv-SE" sz="1200" dirty="0" smtClean="0"/>
              <a:t>, </a:t>
            </a:r>
            <a:r>
              <a:rPr lang="sv-SE" sz="1200" dirty="0" err="1" smtClean="0"/>
              <a:t>Elvanse</a:t>
            </a:r>
            <a:r>
              <a:rPr lang="sv-SE" sz="1200" dirty="0" smtClean="0"/>
              <a:t> </a:t>
            </a:r>
          </a:p>
          <a:p>
            <a:r>
              <a:rPr lang="sv-SE" sz="1200" dirty="0" err="1" smtClean="0"/>
              <a:t>Metylfenidat</a:t>
            </a:r>
            <a:r>
              <a:rPr lang="sv-SE" sz="1200" dirty="0" smtClean="0"/>
              <a:t>: </a:t>
            </a:r>
            <a:r>
              <a:rPr lang="sv-SE" sz="1200" dirty="0" err="1" smtClean="0"/>
              <a:t>Concerta</a:t>
            </a:r>
            <a:r>
              <a:rPr lang="sv-SE" sz="1200" dirty="0" smtClean="0"/>
              <a:t>, </a:t>
            </a:r>
            <a:r>
              <a:rPr lang="sv-SE" sz="1200" dirty="0" err="1" smtClean="0"/>
              <a:t>Ritalin</a:t>
            </a:r>
            <a:r>
              <a:rPr lang="sv-SE" sz="1200" dirty="0" smtClean="0"/>
              <a:t>, </a:t>
            </a:r>
            <a:r>
              <a:rPr lang="sv-SE" sz="1200" dirty="0" err="1" smtClean="0"/>
              <a:t>Medikinet</a:t>
            </a:r>
            <a:r>
              <a:rPr lang="sv-SE" sz="1200" dirty="0" smtClean="0"/>
              <a:t>, </a:t>
            </a:r>
            <a:r>
              <a:rPr lang="sv-SE" sz="1200" dirty="0" err="1" smtClean="0"/>
              <a:t>Medanef</a:t>
            </a:r>
            <a:endParaRPr lang="sv-SE" sz="1200" dirty="0"/>
          </a:p>
          <a:p>
            <a:r>
              <a:rPr lang="sv-SE" sz="1200" dirty="0" err="1" smtClean="0"/>
              <a:t>Atomoxetin</a:t>
            </a:r>
            <a:r>
              <a:rPr lang="sv-SE" sz="1200" dirty="0" smtClean="0"/>
              <a:t>: </a:t>
            </a:r>
            <a:r>
              <a:rPr lang="sv-SE" sz="1200" dirty="0" err="1" smtClean="0"/>
              <a:t>Strattera</a:t>
            </a:r>
            <a:r>
              <a:rPr lang="sv-SE" sz="1200" dirty="0" smtClean="0"/>
              <a:t> </a:t>
            </a:r>
          </a:p>
          <a:p>
            <a:r>
              <a:rPr lang="sv-SE" sz="1200" dirty="0" err="1" smtClean="0"/>
              <a:t>Lisdexamfetamin</a:t>
            </a:r>
            <a:r>
              <a:rPr lang="sv-SE" sz="1200" dirty="0" smtClean="0"/>
              <a:t>: </a:t>
            </a:r>
            <a:r>
              <a:rPr lang="sv-SE" sz="1200" dirty="0" err="1" smtClean="0"/>
              <a:t>Elvanse</a:t>
            </a:r>
            <a:r>
              <a:rPr lang="sv-SE" sz="1200" dirty="0" smtClean="0"/>
              <a:t>, </a:t>
            </a:r>
            <a:r>
              <a:rPr lang="sv-SE" sz="1200" dirty="0" err="1" smtClean="0"/>
              <a:t>Attentin</a:t>
            </a:r>
            <a:r>
              <a:rPr lang="sv-SE" sz="1200" dirty="0" smtClean="0"/>
              <a:t> </a:t>
            </a:r>
            <a:endParaRPr lang="sv-SE" sz="1200" dirty="0"/>
          </a:p>
        </p:txBody>
      </p:sp>
    </p:spTree>
    <p:extLst>
      <p:ext uri="{BB962C8B-B14F-4D97-AF65-F5344CB8AC3E}">
        <p14:creationId xmlns:p14="http://schemas.microsoft.com/office/powerpoint/2010/main" val="2789269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latshållare för innehåll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360895" y="1169557"/>
            <a:ext cx="7544853" cy="4077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2670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1291800" cy="1143000"/>
          </a:xfrm>
        </p:spPr>
        <p:txBody>
          <a:bodyPr>
            <a:normAutofit/>
          </a:bodyPr>
          <a:lstStyle/>
          <a:p>
            <a:r>
              <a:rPr lang="sv-SE" sz="3200" dirty="0"/>
              <a:t>GAP analys </a:t>
            </a:r>
            <a:r>
              <a:rPr lang="sv-SE" sz="3200" dirty="0" smtClean="0"/>
              <a:t>region:  Läkemedel och medicintekniska produkter </a:t>
            </a:r>
            <a:endParaRPr lang="sv-SE" sz="32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17172" y="2304866"/>
            <a:ext cx="10972800" cy="3744415"/>
          </a:xfrm>
        </p:spPr>
        <p:txBody>
          <a:bodyPr>
            <a:normAutofit/>
          </a:bodyPr>
          <a:lstStyle/>
          <a:p>
            <a:r>
              <a:rPr lang="sv-SE" sz="1800" dirty="0"/>
              <a:t>Erbjuder er verksamhet läkemedel för </a:t>
            </a:r>
            <a:r>
              <a:rPr lang="sv-SE" sz="1800" dirty="0" smtClean="0"/>
              <a:t>ADHD </a:t>
            </a:r>
            <a:r>
              <a:rPr lang="sv-SE" sz="1800" dirty="0"/>
              <a:t>till </a:t>
            </a:r>
            <a:r>
              <a:rPr lang="sv-SE" sz="1800" b="1" dirty="0"/>
              <a:t>barn</a:t>
            </a:r>
            <a:r>
              <a:rPr lang="sv-SE" sz="1800" dirty="0"/>
              <a:t> ≥ 13 år /</a:t>
            </a:r>
            <a:r>
              <a:rPr lang="sv-SE" sz="1800" b="1" dirty="0"/>
              <a:t>vuxna</a:t>
            </a:r>
            <a:r>
              <a:rPr lang="sv-SE" sz="1800" dirty="0"/>
              <a:t> med </a:t>
            </a:r>
            <a:r>
              <a:rPr lang="sv-SE" sz="1800" dirty="0" err="1"/>
              <a:t>adhd</a:t>
            </a:r>
            <a:r>
              <a:rPr lang="sv-SE" sz="1800" dirty="0"/>
              <a:t> med ett skadligt bruk eller beroende av alkohol och/eller narkotika?</a:t>
            </a:r>
          </a:p>
          <a:p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1902271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1291800" cy="1143000"/>
          </a:xfrm>
        </p:spPr>
        <p:txBody>
          <a:bodyPr>
            <a:normAutofit/>
          </a:bodyPr>
          <a:lstStyle/>
          <a:p>
            <a:r>
              <a:rPr lang="sv-SE" sz="3200" dirty="0"/>
              <a:t>GAP analys </a:t>
            </a:r>
            <a:r>
              <a:rPr lang="sv-SE" sz="3200" dirty="0" smtClean="0"/>
              <a:t>region:  Läkemedel och medicintekniska produkter </a:t>
            </a:r>
            <a:endParaRPr lang="sv-SE" sz="32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17172" y="2304866"/>
            <a:ext cx="10972800" cy="3744415"/>
          </a:xfrm>
        </p:spPr>
        <p:txBody>
          <a:bodyPr>
            <a:normAutofit/>
          </a:bodyPr>
          <a:lstStyle/>
          <a:p>
            <a:r>
              <a:rPr lang="sv-SE" sz="1800" dirty="0"/>
              <a:t>Erbjuder </a:t>
            </a:r>
            <a:r>
              <a:rPr lang="sv-SE" sz="1800" dirty="0" smtClean="0"/>
              <a:t>vi läkemedlet Melatonin, till barn med ADHD, som inte blir hjälpta av annat stöd för bättre sömnvanor? </a:t>
            </a:r>
          </a:p>
          <a:p>
            <a:endParaRPr lang="sv-SE" sz="1800" dirty="0"/>
          </a:p>
          <a:p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93284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507014" y="547688"/>
            <a:ext cx="10972800" cy="1143000"/>
          </a:xfrm>
        </p:spPr>
        <p:txBody>
          <a:bodyPr>
            <a:normAutofit/>
          </a:bodyPr>
          <a:lstStyle/>
          <a:p>
            <a:r>
              <a:rPr lang="sv-SE" sz="2800" dirty="0"/>
              <a:t>Antal unika individer som fått diagnos registrerad per angivet år. Utsökt på huvud/bidiagnos</a:t>
            </a:r>
          </a:p>
        </p:txBody>
      </p:sp>
      <p:graphicFrame>
        <p:nvGraphicFramePr>
          <p:cNvPr id="4" name="Diagram 3"/>
          <p:cNvGraphicFramePr>
            <a:graphicFrameLocks/>
          </p:cNvGraphicFramePr>
          <p:nvPr>
            <p:extLst/>
          </p:nvPr>
        </p:nvGraphicFramePr>
        <p:xfrm>
          <a:off x="1379913" y="1690688"/>
          <a:ext cx="8082569" cy="4269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162336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1291800" cy="1143000"/>
          </a:xfrm>
        </p:spPr>
        <p:txBody>
          <a:bodyPr>
            <a:normAutofit/>
          </a:bodyPr>
          <a:lstStyle/>
          <a:p>
            <a:r>
              <a:rPr lang="sv-SE" sz="3200" dirty="0"/>
              <a:t>GAP analys </a:t>
            </a:r>
            <a:r>
              <a:rPr lang="sv-SE" sz="3200" dirty="0" smtClean="0"/>
              <a:t>region:  Läkemedel och medicintekniska produkter </a:t>
            </a:r>
            <a:endParaRPr lang="sv-SE" sz="32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17172" y="2304866"/>
            <a:ext cx="10972800" cy="3744415"/>
          </a:xfrm>
        </p:spPr>
        <p:txBody>
          <a:bodyPr>
            <a:normAutofit/>
          </a:bodyPr>
          <a:lstStyle/>
          <a:p>
            <a:r>
              <a:rPr lang="sv-SE" sz="1800" dirty="0"/>
              <a:t>Erbjuder </a:t>
            </a:r>
            <a:r>
              <a:rPr lang="sv-SE" sz="1800" dirty="0" smtClean="0"/>
              <a:t>vi förskrivning </a:t>
            </a:r>
            <a:r>
              <a:rPr lang="sv-SE" sz="1800" dirty="0"/>
              <a:t>av centralstimulerande </a:t>
            </a:r>
            <a:r>
              <a:rPr lang="sv-SE" sz="1800" dirty="0" smtClean="0"/>
              <a:t>ADHD-läkemedel </a:t>
            </a:r>
            <a:r>
              <a:rPr lang="sv-SE" sz="1800" dirty="0"/>
              <a:t>till </a:t>
            </a:r>
            <a:r>
              <a:rPr lang="sv-SE" sz="1800" b="1" dirty="0"/>
              <a:t>barn</a:t>
            </a:r>
            <a:r>
              <a:rPr lang="sv-SE" sz="1800" dirty="0"/>
              <a:t> (≥ 6 år</a:t>
            </a:r>
            <a:r>
              <a:rPr lang="sv-SE" sz="1800" dirty="0" smtClean="0"/>
              <a:t>) med ADHD?</a:t>
            </a:r>
            <a:endParaRPr lang="sv-SE" sz="1800" dirty="0"/>
          </a:p>
          <a:p>
            <a:endParaRPr lang="sv-SE" sz="1800" dirty="0" smtClean="0"/>
          </a:p>
          <a:p>
            <a:r>
              <a:rPr lang="sv-SE" sz="1800" dirty="0" smtClean="0"/>
              <a:t>Korttidsbehandling(upp till ett år)? </a:t>
            </a:r>
          </a:p>
          <a:p>
            <a:endParaRPr lang="sv-SE" sz="1800" dirty="0"/>
          </a:p>
          <a:p>
            <a:r>
              <a:rPr lang="sv-SE" sz="1800" dirty="0" smtClean="0"/>
              <a:t>Långtidsbehandling(mer än ett </a:t>
            </a:r>
            <a:r>
              <a:rPr lang="sv-SE" sz="1800" dirty="0"/>
              <a:t>år)? </a:t>
            </a:r>
          </a:p>
          <a:p>
            <a:endParaRPr lang="sv-SE" sz="1800" dirty="0" smtClean="0"/>
          </a:p>
          <a:p>
            <a:r>
              <a:rPr lang="sv-SE" sz="1800" dirty="0"/>
              <a:t>Erbjuder er verksamhet regelbunden uppföljning till </a:t>
            </a:r>
            <a:r>
              <a:rPr lang="sv-SE" sz="1800" b="1" dirty="0"/>
              <a:t>barn</a:t>
            </a:r>
            <a:r>
              <a:rPr lang="sv-SE" sz="1800" dirty="0"/>
              <a:t> (≥ 6 år</a:t>
            </a:r>
            <a:r>
              <a:rPr lang="sv-SE" sz="1800" dirty="0" smtClean="0"/>
              <a:t>) som </a:t>
            </a:r>
            <a:r>
              <a:rPr lang="sv-SE" sz="1800" dirty="0"/>
              <a:t>behandlas med centralstimulerande </a:t>
            </a:r>
            <a:r>
              <a:rPr lang="sv-SE" sz="1800" dirty="0" smtClean="0"/>
              <a:t>ADHD-läkemedel</a:t>
            </a:r>
            <a:r>
              <a:rPr lang="sv-SE" sz="1800" dirty="0"/>
              <a:t>?</a:t>
            </a:r>
          </a:p>
          <a:p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803679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1291800" cy="1143000"/>
          </a:xfrm>
        </p:spPr>
        <p:txBody>
          <a:bodyPr>
            <a:normAutofit/>
          </a:bodyPr>
          <a:lstStyle/>
          <a:p>
            <a:r>
              <a:rPr lang="sv-SE" sz="3200" dirty="0"/>
              <a:t>GAP analys </a:t>
            </a:r>
            <a:r>
              <a:rPr lang="sv-SE" sz="3200" dirty="0" smtClean="0"/>
              <a:t>region:  Läkemedel och medicintekniska produkter </a:t>
            </a:r>
            <a:endParaRPr lang="sv-SE" sz="32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17172" y="2304866"/>
            <a:ext cx="10972800" cy="3744415"/>
          </a:xfrm>
        </p:spPr>
        <p:txBody>
          <a:bodyPr>
            <a:normAutofit/>
          </a:bodyPr>
          <a:lstStyle/>
          <a:p>
            <a:r>
              <a:rPr lang="sv-SE" sz="1800" dirty="0"/>
              <a:t>Erbjuder </a:t>
            </a:r>
            <a:r>
              <a:rPr lang="sv-SE" sz="1800" dirty="0" smtClean="0"/>
              <a:t>vi förskrivning </a:t>
            </a:r>
            <a:r>
              <a:rPr lang="sv-SE" sz="1800" dirty="0"/>
              <a:t>av icke-centralstimulerande</a:t>
            </a:r>
            <a:r>
              <a:rPr lang="sv-SE" sz="1800" dirty="0" smtClean="0"/>
              <a:t> ADHD-läkemedel </a:t>
            </a:r>
            <a:r>
              <a:rPr lang="sv-SE" sz="1800" dirty="0"/>
              <a:t>till </a:t>
            </a:r>
            <a:r>
              <a:rPr lang="sv-SE" sz="1800" b="1" dirty="0"/>
              <a:t>barn</a:t>
            </a:r>
            <a:r>
              <a:rPr lang="sv-SE" sz="1800" dirty="0"/>
              <a:t> (≥ 6 år</a:t>
            </a:r>
            <a:r>
              <a:rPr lang="sv-SE" sz="1800" dirty="0" smtClean="0"/>
              <a:t>) med ADHD?</a:t>
            </a:r>
            <a:endParaRPr lang="sv-SE" sz="1800" dirty="0"/>
          </a:p>
          <a:p>
            <a:endParaRPr lang="sv-SE" sz="1800" dirty="0" smtClean="0"/>
          </a:p>
          <a:p>
            <a:r>
              <a:rPr lang="sv-SE" sz="1800" dirty="0" smtClean="0"/>
              <a:t>Korttidsbehandling(upp till ett år)? </a:t>
            </a:r>
          </a:p>
          <a:p>
            <a:endParaRPr lang="sv-SE" sz="1800" dirty="0"/>
          </a:p>
          <a:p>
            <a:r>
              <a:rPr lang="sv-SE" sz="1800" dirty="0" smtClean="0"/>
              <a:t>Långtidsbehandling(mer än ett </a:t>
            </a:r>
            <a:r>
              <a:rPr lang="sv-SE" sz="1800" dirty="0"/>
              <a:t>år)? </a:t>
            </a:r>
          </a:p>
          <a:p>
            <a:endParaRPr lang="sv-SE" sz="1800" dirty="0" smtClean="0"/>
          </a:p>
          <a:p>
            <a:r>
              <a:rPr lang="sv-SE" sz="1800" dirty="0"/>
              <a:t>Erbjuder er verksamhet regelbunden uppföljning till </a:t>
            </a:r>
            <a:r>
              <a:rPr lang="sv-SE" sz="1800" b="1" dirty="0"/>
              <a:t>barn</a:t>
            </a:r>
            <a:r>
              <a:rPr lang="sv-SE" sz="1800" dirty="0"/>
              <a:t> (≥ 6 år</a:t>
            </a:r>
            <a:r>
              <a:rPr lang="sv-SE" sz="1800" dirty="0" smtClean="0"/>
              <a:t>) som </a:t>
            </a:r>
            <a:r>
              <a:rPr lang="sv-SE" sz="1800" dirty="0"/>
              <a:t>behandlas med icke-centralstimulerande</a:t>
            </a:r>
            <a:r>
              <a:rPr lang="sv-SE" sz="1800" dirty="0" smtClean="0"/>
              <a:t> ADHD-läkemedel</a:t>
            </a:r>
            <a:r>
              <a:rPr lang="sv-SE" sz="1800" dirty="0"/>
              <a:t>?</a:t>
            </a:r>
          </a:p>
          <a:p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3372349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1291800" cy="1143000"/>
          </a:xfrm>
        </p:spPr>
        <p:txBody>
          <a:bodyPr>
            <a:normAutofit/>
          </a:bodyPr>
          <a:lstStyle/>
          <a:p>
            <a:r>
              <a:rPr lang="sv-SE" sz="3200" dirty="0"/>
              <a:t>GAP analys </a:t>
            </a:r>
            <a:r>
              <a:rPr lang="sv-SE" sz="3200" dirty="0" smtClean="0"/>
              <a:t>region:  Läkemedel och medicintekniska produkter </a:t>
            </a:r>
            <a:endParaRPr lang="sv-SE" sz="32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17172" y="2304866"/>
            <a:ext cx="10972800" cy="3744415"/>
          </a:xfrm>
        </p:spPr>
        <p:txBody>
          <a:bodyPr>
            <a:normAutofit/>
          </a:bodyPr>
          <a:lstStyle/>
          <a:p>
            <a:r>
              <a:rPr lang="sv-SE" sz="1800" dirty="0"/>
              <a:t>Erbjuder </a:t>
            </a:r>
            <a:r>
              <a:rPr lang="sv-SE" sz="1800" dirty="0" smtClean="0"/>
              <a:t>vi förskrivning </a:t>
            </a:r>
            <a:r>
              <a:rPr lang="sv-SE" sz="1800" dirty="0"/>
              <a:t>av centralstimulerande </a:t>
            </a:r>
            <a:r>
              <a:rPr lang="sv-SE" sz="1800" dirty="0" smtClean="0"/>
              <a:t>ADHD-läkemedel </a:t>
            </a:r>
            <a:r>
              <a:rPr lang="sv-SE" sz="1800" dirty="0"/>
              <a:t>till</a:t>
            </a:r>
            <a:r>
              <a:rPr lang="sv-SE" sz="1800" b="1" dirty="0"/>
              <a:t> </a:t>
            </a:r>
            <a:r>
              <a:rPr lang="sv-SE" sz="1800" b="1" dirty="0" smtClean="0"/>
              <a:t>vuxna </a:t>
            </a:r>
            <a:r>
              <a:rPr lang="sv-SE" sz="1800" dirty="0"/>
              <a:t>med </a:t>
            </a:r>
            <a:r>
              <a:rPr lang="sv-SE" sz="1800" dirty="0" smtClean="0"/>
              <a:t>ADHD?</a:t>
            </a:r>
            <a:endParaRPr lang="sv-SE" sz="1800" dirty="0"/>
          </a:p>
          <a:p>
            <a:endParaRPr lang="sv-SE" sz="1800" dirty="0" smtClean="0"/>
          </a:p>
          <a:p>
            <a:r>
              <a:rPr lang="sv-SE" sz="1800" dirty="0" smtClean="0"/>
              <a:t>Korttidsbehandling(upp till ett år)? </a:t>
            </a:r>
          </a:p>
          <a:p>
            <a:endParaRPr lang="sv-SE" sz="1800" dirty="0"/>
          </a:p>
          <a:p>
            <a:r>
              <a:rPr lang="sv-SE" sz="1800" dirty="0" smtClean="0"/>
              <a:t>Långtidsbehandling(mer än ett </a:t>
            </a:r>
            <a:r>
              <a:rPr lang="sv-SE" sz="1800" dirty="0"/>
              <a:t>år)? </a:t>
            </a:r>
          </a:p>
          <a:p>
            <a:endParaRPr lang="sv-SE" sz="1800" dirty="0" smtClean="0"/>
          </a:p>
          <a:p>
            <a:r>
              <a:rPr lang="sv-SE" sz="1800" dirty="0"/>
              <a:t>Erbjuder er verksamhet regelbunden uppföljning till </a:t>
            </a:r>
            <a:r>
              <a:rPr lang="sv-SE" sz="1800" b="1" dirty="0" smtClean="0"/>
              <a:t>vuxna </a:t>
            </a:r>
            <a:r>
              <a:rPr lang="sv-SE" sz="1800" dirty="0"/>
              <a:t>som behandlas med centralstimulerande </a:t>
            </a:r>
            <a:r>
              <a:rPr lang="sv-SE" sz="1800" dirty="0" smtClean="0"/>
              <a:t>ADHD-läkemedel</a:t>
            </a:r>
            <a:r>
              <a:rPr lang="sv-SE" sz="1800" dirty="0"/>
              <a:t>?</a:t>
            </a:r>
          </a:p>
          <a:p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1490684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1291800" cy="1143000"/>
          </a:xfrm>
        </p:spPr>
        <p:txBody>
          <a:bodyPr>
            <a:normAutofit/>
          </a:bodyPr>
          <a:lstStyle/>
          <a:p>
            <a:r>
              <a:rPr lang="sv-SE" sz="3200" dirty="0"/>
              <a:t>GAP analys </a:t>
            </a:r>
            <a:r>
              <a:rPr lang="sv-SE" sz="3200" dirty="0" smtClean="0"/>
              <a:t>region:  Läkemedel och medicintekniska produkter </a:t>
            </a:r>
            <a:endParaRPr lang="sv-SE" sz="32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17172" y="2304866"/>
            <a:ext cx="10972800" cy="3744415"/>
          </a:xfrm>
        </p:spPr>
        <p:txBody>
          <a:bodyPr>
            <a:normAutofit/>
          </a:bodyPr>
          <a:lstStyle/>
          <a:p>
            <a:r>
              <a:rPr lang="sv-SE" sz="1800" dirty="0"/>
              <a:t>Erbjuder </a:t>
            </a:r>
            <a:r>
              <a:rPr lang="sv-SE" sz="1800" dirty="0" smtClean="0"/>
              <a:t>vi förskrivning </a:t>
            </a:r>
            <a:r>
              <a:rPr lang="sv-SE" sz="1800" dirty="0"/>
              <a:t>av </a:t>
            </a:r>
            <a:r>
              <a:rPr lang="sv-SE" sz="1800" dirty="0" smtClean="0"/>
              <a:t>icke centralstimulerande ADHD-läkemedel </a:t>
            </a:r>
            <a:r>
              <a:rPr lang="sv-SE" sz="1800" dirty="0"/>
              <a:t>till</a:t>
            </a:r>
            <a:r>
              <a:rPr lang="sv-SE" sz="1800" b="1" dirty="0"/>
              <a:t> </a:t>
            </a:r>
            <a:r>
              <a:rPr lang="sv-SE" sz="1800" b="1" dirty="0" smtClean="0"/>
              <a:t>vuxna </a:t>
            </a:r>
            <a:r>
              <a:rPr lang="sv-SE" sz="1800" dirty="0"/>
              <a:t>med </a:t>
            </a:r>
            <a:r>
              <a:rPr lang="sv-SE" sz="1800" dirty="0" smtClean="0"/>
              <a:t>ADHD?</a:t>
            </a:r>
            <a:endParaRPr lang="sv-SE" sz="1800" dirty="0"/>
          </a:p>
          <a:p>
            <a:endParaRPr lang="sv-SE" sz="1800" dirty="0" smtClean="0"/>
          </a:p>
          <a:p>
            <a:r>
              <a:rPr lang="sv-SE" sz="1800" dirty="0" smtClean="0"/>
              <a:t>Korttidsbehandling(upp till ett år)? </a:t>
            </a:r>
          </a:p>
          <a:p>
            <a:endParaRPr lang="sv-SE" sz="1800" dirty="0"/>
          </a:p>
          <a:p>
            <a:r>
              <a:rPr lang="sv-SE" sz="1800" dirty="0" smtClean="0"/>
              <a:t>Långtidsbehandling(mer än ett </a:t>
            </a:r>
            <a:r>
              <a:rPr lang="sv-SE" sz="1800" dirty="0"/>
              <a:t>år)? </a:t>
            </a:r>
          </a:p>
          <a:p>
            <a:endParaRPr lang="sv-SE" sz="1800" dirty="0" smtClean="0"/>
          </a:p>
          <a:p>
            <a:r>
              <a:rPr lang="sv-SE" sz="1800" dirty="0"/>
              <a:t>Erbjuder er verksamhet regelbunden uppföljning till </a:t>
            </a:r>
            <a:r>
              <a:rPr lang="sv-SE" sz="1800" b="1" dirty="0" smtClean="0"/>
              <a:t>vuxna </a:t>
            </a:r>
            <a:r>
              <a:rPr lang="sv-SE" sz="1800" dirty="0"/>
              <a:t>som behandlas med </a:t>
            </a:r>
            <a:r>
              <a:rPr lang="sv-SE" sz="1800" dirty="0" smtClean="0"/>
              <a:t>icke centralstimulerande ADHD-läkemedel</a:t>
            </a:r>
            <a:r>
              <a:rPr lang="sv-SE" sz="1800" dirty="0"/>
              <a:t>?</a:t>
            </a:r>
          </a:p>
          <a:p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1494800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1291800" cy="1143000"/>
          </a:xfrm>
        </p:spPr>
        <p:txBody>
          <a:bodyPr>
            <a:normAutofit/>
          </a:bodyPr>
          <a:lstStyle/>
          <a:p>
            <a:r>
              <a:rPr lang="sv-SE" sz="3200" dirty="0"/>
              <a:t>GAP analys </a:t>
            </a:r>
            <a:r>
              <a:rPr lang="sv-SE" sz="3200" dirty="0" smtClean="0"/>
              <a:t>region:  Läkemedel och medicintekniska produkter </a:t>
            </a:r>
            <a:endParaRPr lang="sv-SE" sz="32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17172" y="2304866"/>
            <a:ext cx="10972800" cy="3744415"/>
          </a:xfrm>
        </p:spPr>
        <p:txBody>
          <a:bodyPr>
            <a:normAutofit/>
          </a:bodyPr>
          <a:lstStyle/>
          <a:p>
            <a:r>
              <a:rPr lang="sv-SE" sz="1800" dirty="0"/>
              <a:t>Erbjuder er verksamhet tyngdtäcke till </a:t>
            </a:r>
            <a:r>
              <a:rPr lang="sv-SE" sz="1800" dirty="0" smtClean="0"/>
              <a:t>barn/vuxna </a:t>
            </a:r>
            <a:r>
              <a:rPr lang="sv-SE" sz="1800" dirty="0"/>
              <a:t>med </a:t>
            </a:r>
            <a:r>
              <a:rPr lang="sv-SE" sz="1800" dirty="0" smtClean="0"/>
              <a:t>ADHD med </a:t>
            </a:r>
            <a:r>
              <a:rPr lang="sv-SE" sz="1800" dirty="0" err="1"/>
              <a:t>insomni</a:t>
            </a:r>
            <a:r>
              <a:rPr lang="sv-SE" sz="1800" dirty="0"/>
              <a:t>, som inte blir hjälpta av annat stöd för bättre sömnvanor?</a:t>
            </a:r>
          </a:p>
          <a:p>
            <a:endParaRPr lang="sv-SE" sz="1800" dirty="0" smtClean="0"/>
          </a:p>
          <a:p>
            <a:r>
              <a:rPr lang="sv-SE" sz="1800" dirty="0" smtClean="0"/>
              <a:t>Erbjuder </a:t>
            </a:r>
            <a:r>
              <a:rPr lang="sv-SE" sz="1800" dirty="0"/>
              <a:t>er verksamhet tyngdtäcke till </a:t>
            </a:r>
            <a:r>
              <a:rPr lang="sv-SE" sz="1800" dirty="0" smtClean="0"/>
              <a:t>barn/vuxna </a:t>
            </a:r>
            <a:r>
              <a:rPr lang="sv-SE" sz="1800" dirty="0"/>
              <a:t>med med </a:t>
            </a:r>
            <a:r>
              <a:rPr lang="sv-SE" sz="1800" dirty="0" smtClean="0"/>
              <a:t>autism </a:t>
            </a:r>
            <a:r>
              <a:rPr lang="sv-SE" sz="1800" dirty="0"/>
              <a:t>med </a:t>
            </a:r>
            <a:r>
              <a:rPr lang="sv-SE" sz="1800" dirty="0" err="1"/>
              <a:t>insomni</a:t>
            </a:r>
            <a:r>
              <a:rPr lang="sv-SE" sz="1800" dirty="0"/>
              <a:t>, som inte blir hjälpta av annat stöd för bättre sömnvanor?</a:t>
            </a:r>
          </a:p>
          <a:p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2951578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1291800" cy="1143000"/>
          </a:xfrm>
        </p:spPr>
        <p:txBody>
          <a:bodyPr>
            <a:normAutofit/>
          </a:bodyPr>
          <a:lstStyle/>
          <a:p>
            <a:r>
              <a:rPr lang="sv-SE" sz="3200" dirty="0"/>
              <a:t>GAP analys </a:t>
            </a:r>
            <a:r>
              <a:rPr lang="sv-SE" sz="3200" dirty="0" smtClean="0"/>
              <a:t>socialtjänst:  Läkemedel och medicintekniska produkter </a:t>
            </a:r>
            <a:endParaRPr lang="sv-SE" sz="32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17172" y="2304866"/>
            <a:ext cx="10972800" cy="3744415"/>
          </a:xfrm>
        </p:spPr>
        <p:txBody>
          <a:bodyPr>
            <a:normAutofit/>
          </a:bodyPr>
          <a:lstStyle/>
          <a:p>
            <a:r>
              <a:rPr lang="sv-SE" sz="1800" dirty="0"/>
              <a:t>Erbjuder er verksamhet tyngdtäcke till </a:t>
            </a:r>
            <a:r>
              <a:rPr lang="sv-SE" sz="1800" dirty="0" smtClean="0"/>
              <a:t>barn/vuxna </a:t>
            </a:r>
            <a:r>
              <a:rPr lang="sv-SE" sz="1800" dirty="0"/>
              <a:t>med </a:t>
            </a:r>
            <a:r>
              <a:rPr lang="sv-SE" sz="1800" dirty="0" smtClean="0"/>
              <a:t>ADHD med </a:t>
            </a:r>
            <a:r>
              <a:rPr lang="sv-SE" sz="1800" dirty="0" err="1"/>
              <a:t>insomni</a:t>
            </a:r>
            <a:r>
              <a:rPr lang="sv-SE" sz="1800" dirty="0"/>
              <a:t>, som inte blir hjälpta av annat stöd för bättre sömnvanor?</a:t>
            </a:r>
          </a:p>
          <a:p>
            <a:endParaRPr lang="sv-SE" sz="1800" dirty="0" smtClean="0"/>
          </a:p>
          <a:p>
            <a:r>
              <a:rPr lang="sv-SE" sz="1800" dirty="0" smtClean="0"/>
              <a:t>Erbjuder </a:t>
            </a:r>
            <a:r>
              <a:rPr lang="sv-SE" sz="1800" dirty="0"/>
              <a:t>er verksamhet tyngdtäcke till </a:t>
            </a:r>
            <a:r>
              <a:rPr lang="sv-SE" sz="1800" dirty="0" smtClean="0"/>
              <a:t>barn/vuxna </a:t>
            </a:r>
            <a:r>
              <a:rPr lang="sv-SE" sz="1800" dirty="0"/>
              <a:t>med </a:t>
            </a:r>
            <a:r>
              <a:rPr lang="sv-SE" sz="1800" dirty="0" smtClean="0"/>
              <a:t>autism </a:t>
            </a:r>
            <a:r>
              <a:rPr lang="sv-SE" sz="1800" dirty="0"/>
              <a:t>med </a:t>
            </a:r>
            <a:r>
              <a:rPr lang="sv-SE" sz="1800" dirty="0" err="1"/>
              <a:t>insomni</a:t>
            </a:r>
            <a:r>
              <a:rPr lang="sv-SE" sz="1800" dirty="0"/>
              <a:t>, som inte blir hjälpta av annat stöd för bättre sömnvanor?</a:t>
            </a:r>
          </a:p>
          <a:p>
            <a:endParaRPr lang="sv-SE" sz="1800" dirty="0"/>
          </a:p>
          <a:p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4105853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Rektangel 77"/>
          <p:cNvSpPr/>
          <p:nvPr/>
        </p:nvSpPr>
        <p:spPr>
          <a:xfrm>
            <a:off x="114663" y="175385"/>
            <a:ext cx="5745018" cy="1050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7" name="Rektangel 86"/>
          <p:cNvSpPr/>
          <p:nvPr/>
        </p:nvSpPr>
        <p:spPr>
          <a:xfrm>
            <a:off x="212751" y="61085"/>
            <a:ext cx="11876203" cy="89781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tionella riktlinjer </a:t>
            </a:r>
            <a:r>
              <a:rPr kumimoji="0" lang="sv-SE" sz="18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hd</a:t>
            </a:r>
            <a:r>
              <a:rPr kumimoji="0" lang="sv-SE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/autism 20 oktober 2022 – 20 </a:t>
            </a: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anuari </a:t>
            </a:r>
            <a:r>
              <a:rPr kumimoji="0" lang="sv-SE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3     </a:t>
            </a:r>
            <a:r>
              <a:rPr kumimoji="0" lang="sv-SE" sz="40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gionernas</a:t>
            </a:r>
            <a:r>
              <a:rPr kumimoji="0" lang="sv-SE" sz="4000" b="1" i="0" u="sng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cess</a:t>
            </a:r>
            <a:endParaRPr kumimoji="0" lang="sv-SE" sz="40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la remissvar skickas till </a:t>
            </a:r>
            <a:r>
              <a:rPr kumimoji="0" lang="sv-SE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3"/>
              </a:rPr>
              <a:t>jorgen.bergstrom@regionostergotland.se</a:t>
            </a:r>
            <a:r>
              <a:rPr kumimoji="0" lang="sv-SE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9" name="Rektangel med rundade hörn 88"/>
          <p:cNvSpPr/>
          <p:nvPr/>
        </p:nvSpPr>
        <p:spPr>
          <a:xfrm>
            <a:off x="212751" y="5078596"/>
            <a:ext cx="11620803" cy="129345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sonerna som ska svara på uppdraget behöver </a:t>
            </a: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vsätta tid för att </a:t>
            </a:r>
            <a:r>
              <a:rPr kumimoji="0" lang="sv-SE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vara på GAP-analys samt läsa in sig och sammanställa remissvar på de nationella riktlinjerna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 </a:t>
            </a: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r en period </a:t>
            </a:r>
            <a:r>
              <a:rPr kumimoji="0" lang="sv-SE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å</a:t>
            </a: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sv-SE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rygt 2 veckor </a:t>
            </a:r>
            <a:r>
              <a:rPr kumimoji="0" lang="sv-SE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ån att NR kommer </a:t>
            </a: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 tills det är dags att lämna in </a:t>
            </a:r>
            <a:r>
              <a:rPr kumimoji="0" lang="sv-SE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missvar. </a:t>
            </a: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ra om tid avsätts i kalendern redan nu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ektangel med rundade hörn 13"/>
          <p:cNvSpPr/>
          <p:nvPr/>
        </p:nvSpPr>
        <p:spPr>
          <a:xfrm>
            <a:off x="6613909" y="1102335"/>
            <a:ext cx="2840677" cy="3667554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gioner </a:t>
            </a:r>
            <a:r>
              <a:rPr kumimoji="0" lang="sv-SE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ydöstr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 november – 10.00-12.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4"/>
              </a:rPr>
              <a:t>https://regionostergotland-se.zoom.us/j/82339883191?pwd=bFAzWGExaW9WblVURE1CdE1lYzBjZz09</a:t>
            </a:r>
            <a:endParaRPr kumimoji="0" lang="sv-SE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ängre </a:t>
            </a: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öte för ett arbetande grupp – </a:t>
            </a:r>
            <a:r>
              <a:rPr kumimoji="0" lang="sv-SE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onera runt regionernas synpunkter</a:t>
            </a: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endParaRPr kumimoji="0" lang="sv-SE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</a:p>
        </p:txBody>
      </p:sp>
      <p:sp>
        <p:nvSpPr>
          <p:cNvPr id="35" name="Rektangel med rundade hörn 34"/>
          <p:cNvSpPr/>
          <p:nvPr/>
        </p:nvSpPr>
        <p:spPr>
          <a:xfrm>
            <a:off x="212751" y="1145984"/>
            <a:ext cx="3289574" cy="3667555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gioner och kommuner </a:t>
            </a: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 Sydöstr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1 oktober </a:t>
            </a: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– </a:t>
            </a:r>
            <a:r>
              <a:rPr kumimoji="0" lang="sv-SE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3.00-14.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5"/>
              </a:rPr>
              <a:t>https://regionostergotland-se.zoom.us/j/89077228302?pwd=eUFFandYRmxGNEt4aERsY2FGSzhSUT09</a:t>
            </a:r>
            <a:endParaRPr kumimoji="0" lang="sv-SE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hlinkClick r:id="rId6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roduktion </a:t>
            </a: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ör det specifika uppdraget</a:t>
            </a:r>
            <a:r>
              <a:rPr kumimoji="0" lang="sv-SE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ormation om processen – tider för remissvar, gap-analys, kontaktuppgifter osv.</a:t>
            </a:r>
            <a:endParaRPr kumimoji="0" lang="sv-S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ydöstra sjukvårdsregionen – </a:t>
            </a:r>
            <a:r>
              <a:rPr kumimoji="0" lang="sv-SE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 regioner, 38 </a:t>
            </a: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mmuner)</a:t>
            </a:r>
          </a:p>
        </p:txBody>
      </p:sp>
      <p:sp>
        <p:nvSpPr>
          <p:cNvPr id="10" name="Rektangel med rundade hörn 9"/>
          <p:cNvSpPr/>
          <p:nvPr/>
        </p:nvSpPr>
        <p:spPr>
          <a:xfrm>
            <a:off x="3559799" y="958898"/>
            <a:ext cx="2838486" cy="3854641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nskapsseminarium med Socialstyrels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 november- 9.00-12.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7"/>
              </a:rPr>
              <a:t>https://regionostergotland-se.zoom.us/j/85757135147?pwd=M1R2R2Y0UnZWTnh0Z2Y2MHhaclV0QT09</a:t>
            </a:r>
            <a:endParaRPr kumimoji="0" lang="sv-SE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Socialstyrelsen ger en övergripande presentation av riktlinjerna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Reflektion av läge i kommuner</a:t>
            </a:r>
            <a:r>
              <a:rPr kumimoji="0" lang="sv-SE" sz="14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och regioner inom Sydöstra med hjälp av </a:t>
            </a:r>
            <a:r>
              <a:rPr kumimoji="0" lang="sv-SE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GAP-analys. Medverkan av egenerfarna</a:t>
            </a:r>
            <a:r>
              <a:rPr lang="sv-SE" sz="1400" dirty="0" smtClean="0">
                <a:solidFill>
                  <a:prstClr val="black"/>
                </a:solidFill>
                <a:latin typeface="Calibri" panose="020F0502020204030204"/>
              </a:rPr>
              <a:t>, medarbetare som deltagit i framtagandet och förtroendevald.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400" b="1" u="sng" noProof="0" dirty="0" smtClean="0">
                <a:solidFill>
                  <a:prstClr val="black"/>
                </a:solidFill>
                <a:latin typeface="Calibri" panose="020F0502020204030204"/>
              </a:rPr>
              <a:t>Sista dag att skicka in remissvar</a:t>
            </a:r>
            <a:endParaRPr kumimoji="0" lang="sv-SE" sz="1400" b="1" i="0" u="sng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ktangel med rundade hörn 10"/>
          <p:cNvSpPr/>
          <p:nvPr/>
        </p:nvSpPr>
        <p:spPr>
          <a:xfrm>
            <a:off x="9512060" y="1145985"/>
            <a:ext cx="2576894" cy="2816416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 novemb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kast till remissvar kommer att skickas ut till alla medverkande via mai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sta dag att ge återkoppling på utkast via mail är </a:t>
            </a:r>
            <a:r>
              <a:rPr kumimoji="0" lang="sv-SE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5 november!</a:t>
            </a:r>
            <a:endParaRPr kumimoji="0" lang="sv-SE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s upp </a:t>
            </a:r>
            <a:r>
              <a:rPr kumimoji="0" lang="sv-SE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ör beslut på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PO Psykisk Hälsa, Sydöstra </a:t>
            </a: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7/11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Frihandsfigur 1"/>
          <p:cNvSpPr/>
          <p:nvPr/>
        </p:nvSpPr>
        <p:spPr>
          <a:xfrm>
            <a:off x="6214438" y="1035072"/>
            <a:ext cx="3457677" cy="2535515"/>
          </a:xfrm>
          <a:custGeom>
            <a:avLst/>
            <a:gdLst>
              <a:gd name="connsiteX0" fmla="*/ 951472 w 3457677"/>
              <a:gd name="connsiteY0" fmla="*/ 37948 h 2535515"/>
              <a:gd name="connsiteX1" fmla="*/ 9080 w 3457677"/>
              <a:gd name="connsiteY1" fmla="*/ 401842 h 2535515"/>
              <a:gd name="connsiteX2" fmla="*/ 643562 w 3457677"/>
              <a:gd name="connsiteY2" fmla="*/ 2435916 h 2535515"/>
              <a:gd name="connsiteX3" fmla="*/ 3162827 w 3457677"/>
              <a:gd name="connsiteY3" fmla="*/ 2016038 h 2535515"/>
              <a:gd name="connsiteX4" fmla="*/ 3162827 w 3457677"/>
              <a:gd name="connsiteY4" fmla="*/ 233891 h 2535515"/>
              <a:gd name="connsiteX5" fmla="*/ 951472 w 3457677"/>
              <a:gd name="connsiteY5" fmla="*/ 37948 h 2535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457677" h="2535515">
                <a:moveTo>
                  <a:pt x="951472" y="37948"/>
                </a:moveTo>
                <a:cubicBezTo>
                  <a:pt x="425848" y="65940"/>
                  <a:pt x="60398" y="2181"/>
                  <a:pt x="9080" y="401842"/>
                </a:cubicBezTo>
                <a:cubicBezTo>
                  <a:pt x="-42238" y="801503"/>
                  <a:pt x="117937" y="2166883"/>
                  <a:pt x="643562" y="2435916"/>
                </a:cubicBezTo>
                <a:cubicBezTo>
                  <a:pt x="1169187" y="2704949"/>
                  <a:pt x="2742950" y="2383042"/>
                  <a:pt x="3162827" y="2016038"/>
                </a:cubicBezTo>
                <a:cubicBezTo>
                  <a:pt x="3582704" y="1649034"/>
                  <a:pt x="3528276" y="562017"/>
                  <a:pt x="3162827" y="233891"/>
                </a:cubicBezTo>
                <a:cubicBezTo>
                  <a:pt x="2797378" y="-94235"/>
                  <a:pt x="1477096" y="9956"/>
                  <a:pt x="951472" y="37948"/>
                </a:cubicBezTo>
                <a:close/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38478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Rektangel 77"/>
          <p:cNvSpPr/>
          <p:nvPr/>
        </p:nvSpPr>
        <p:spPr>
          <a:xfrm>
            <a:off x="114663" y="175385"/>
            <a:ext cx="5745018" cy="1050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7" name="Rektangel 86"/>
          <p:cNvSpPr/>
          <p:nvPr/>
        </p:nvSpPr>
        <p:spPr>
          <a:xfrm>
            <a:off x="212751" y="61085"/>
            <a:ext cx="11876203" cy="89781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tionella riktlinjer </a:t>
            </a:r>
            <a:r>
              <a:rPr kumimoji="0" lang="sv-SE" sz="18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hd</a:t>
            </a:r>
            <a:r>
              <a:rPr kumimoji="0" lang="sv-SE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/autism 20 oktober 2022 – 20 </a:t>
            </a: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anuari </a:t>
            </a:r>
            <a:r>
              <a:rPr kumimoji="0" lang="sv-SE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3     </a:t>
            </a:r>
            <a:r>
              <a:rPr kumimoji="0" lang="sv-SE" sz="400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mmunernas</a:t>
            </a:r>
            <a:r>
              <a:rPr kumimoji="0" lang="sv-SE" sz="4000" b="1" i="0" u="sng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cess</a:t>
            </a:r>
            <a:endParaRPr kumimoji="0" lang="sv-SE" sz="40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la remissvar skickas till </a:t>
            </a:r>
            <a:r>
              <a:rPr kumimoji="0" lang="sv-SE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3"/>
              </a:rPr>
              <a:t>jorgen.bergstrom@regionostergotland.se</a:t>
            </a:r>
            <a:r>
              <a:rPr kumimoji="0" lang="sv-SE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9" name="Rektangel med rundade hörn 88"/>
          <p:cNvSpPr/>
          <p:nvPr/>
        </p:nvSpPr>
        <p:spPr>
          <a:xfrm>
            <a:off x="212751" y="5078596"/>
            <a:ext cx="11620803" cy="129345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sonerna som ska svara på uppdraget behöver </a:t>
            </a: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vsätta tid för att </a:t>
            </a:r>
            <a:r>
              <a:rPr kumimoji="0" lang="sv-SE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vara på GAP-analys samt läsa in sig och sammanställa remissvar på de nationella riktlinjerna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 </a:t>
            </a: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r en period </a:t>
            </a:r>
            <a:r>
              <a:rPr kumimoji="0" lang="sv-SE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å</a:t>
            </a: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sv-SE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rygt 2 veckor </a:t>
            </a:r>
            <a:r>
              <a:rPr kumimoji="0" lang="sv-SE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ån att NR kommer </a:t>
            </a: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 tills det är dags att lämna in </a:t>
            </a:r>
            <a:r>
              <a:rPr kumimoji="0" lang="sv-SE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missvar. </a:t>
            </a: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ra om tid avsätts i kalendern redan nu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ektangel med rundade hörn 13"/>
          <p:cNvSpPr/>
          <p:nvPr/>
        </p:nvSpPr>
        <p:spPr>
          <a:xfrm>
            <a:off x="9206729" y="1052441"/>
            <a:ext cx="2840677" cy="3667554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mmuner Sydöstr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 december – 10.00-12.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>
              <a:defRPr/>
            </a:pPr>
            <a:r>
              <a:rPr lang="sv-SE" sz="1000" u="sng" dirty="0">
                <a:latin typeface="Calibri" panose="020F0502020204030204" pitchFamily="34" charset="0"/>
                <a:cs typeface="Calibri" panose="020F0502020204030204" pitchFamily="34" charset="0"/>
                <a:hlinkClick r:id="rId4"/>
              </a:rPr>
              <a:t>https://us02web.zoom.us/j/86597602450?pwd=VWlSSzBkc2tsSzFLZ2VaY3BjUG5rQT09</a:t>
            </a:r>
            <a:r>
              <a:rPr lang="sv-SE" sz="1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ängre </a:t>
            </a: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öte för ett arbetande grupp – </a:t>
            </a:r>
            <a:r>
              <a:rPr kumimoji="0" lang="sv-SE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onera runt kommunernas synpunkter</a:t>
            </a: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endParaRPr kumimoji="0" lang="sv-SE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</a:p>
        </p:txBody>
      </p:sp>
      <p:sp>
        <p:nvSpPr>
          <p:cNvPr id="35" name="Rektangel med rundade hörn 34"/>
          <p:cNvSpPr/>
          <p:nvPr/>
        </p:nvSpPr>
        <p:spPr>
          <a:xfrm>
            <a:off x="212751" y="1145984"/>
            <a:ext cx="3289574" cy="3667555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gioner och kommuner </a:t>
            </a: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 Sydöstr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1 oktober </a:t>
            </a: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– </a:t>
            </a:r>
            <a:r>
              <a:rPr kumimoji="0" lang="sv-SE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3.00-14.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5"/>
              </a:rPr>
              <a:t>https://regionostergotland-se.zoom.us/j/89077228302?pwd=eUFFandYRmxGNEt4aERsY2FGSzhSUT09</a:t>
            </a:r>
            <a:endParaRPr kumimoji="0" lang="sv-SE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hlinkClick r:id="rId6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roduktion </a:t>
            </a: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ör det specifika uppdraget</a:t>
            </a:r>
            <a:r>
              <a:rPr kumimoji="0" lang="sv-SE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ormation om processen – tider för remissvar, gap-analys, kontaktuppgifter osv.</a:t>
            </a:r>
            <a:endParaRPr kumimoji="0" lang="sv-S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ydöstra sjukvårdsregionen – </a:t>
            </a:r>
            <a:r>
              <a:rPr kumimoji="0" lang="sv-SE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 regioner, 38 </a:t>
            </a: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mmuner)</a:t>
            </a:r>
          </a:p>
        </p:txBody>
      </p:sp>
      <p:sp>
        <p:nvSpPr>
          <p:cNvPr id="10" name="Rektangel med rundade hörn 9"/>
          <p:cNvSpPr/>
          <p:nvPr/>
        </p:nvSpPr>
        <p:spPr>
          <a:xfrm>
            <a:off x="3559799" y="958898"/>
            <a:ext cx="2838486" cy="3854641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nskapsseminarium med Socialstyrels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 november- 9.00-12.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7"/>
              </a:rPr>
              <a:t>https://regionostergotland-se.zoom.us/j/85757135147?pwd=M1R2R2Y0UnZWTnh0Z2Y2MHhaclV0QT09</a:t>
            </a:r>
            <a:endParaRPr kumimoji="0" lang="sv-SE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Socialstyrelsen ger en övergripande presentation av riktlinjerna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Reflektion av läge i kommuner</a:t>
            </a:r>
            <a:r>
              <a:rPr kumimoji="0" lang="sv-SE" sz="14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 och regioner inom Sydöstra med hjälp av </a:t>
            </a:r>
            <a:r>
              <a:rPr kumimoji="0" lang="sv-SE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GAP-analys. Medverkan av egenerfarna</a:t>
            </a:r>
            <a:r>
              <a:rPr lang="sv-SE" sz="1400" dirty="0" smtClean="0">
                <a:solidFill>
                  <a:prstClr val="black"/>
                </a:solidFill>
                <a:latin typeface="Calibri" panose="020F0502020204030204"/>
              </a:rPr>
              <a:t>, medarbetare som deltagit i framtagandet och förtroendevald.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ktangel med rundade hörn 8"/>
          <p:cNvSpPr/>
          <p:nvPr/>
        </p:nvSpPr>
        <p:spPr>
          <a:xfrm>
            <a:off x="6577829" y="1052441"/>
            <a:ext cx="2840677" cy="3667554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 december</a:t>
            </a:r>
            <a:r>
              <a:rPr kumimoji="0" lang="sv-SE" sz="16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sz="1600" b="1" baseline="0" dirty="0">
              <a:solidFill>
                <a:prstClr val="black"/>
              </a:solidFill>
              <a:latin typeface="Calibri" panose="020F0502020204030204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sta dag att skicka in remissvar </a:t>
            </a:r>
            <a:r>
              <a:rPr kumimoji="0" lang="sv-SE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Frihandsfigur 10"/>
          <p:cNvSpPr/>
          <p:nvPr/>
        </p:nvSpPr>
        <p:spPr>
          <a:xfrm>
            <a:off x="8631277" y="956980"/>
            <a:ext cx="3457677" cy="2535515"/>
          </a:xfrm>
          <a:custGeom>
            <a:avLst/>
            <a:gdLst>
              <a:gd name="connsiteX0" fmla="*/ 951472 w 3457677"/>
              <a:gd name="connsiteY0" fmla="*/ 37948 h 2535515"/>
              <a:gd name="connsiteX1" fmla="*/ 9080 w 3457677"/>
              <a:gd name="connsiteY1" fmla="*/ 401842 h 2535515"/>
              <a:gd name="connsiteX2" fmla="*/ 643562 w 3457677"/>
              <a:gd name="connsiteY2" fmla="*/ 2435916 h 2535515"/>
              <a:gd name="connsiteX3" fmla="*/ 3162827 w 3457677"/>
              <a:gd name="connsiteY3" fmla="*/ 2016038 h 2535515"/>
              <a:gd name="connsiteX4" fmla="*/ 3162827 w 3457677"/>
              <a:gd name="connsiteY4" fmla="*/ 233891 h 2535515"/>
              <a:gd name="connsiteX5" fmla="*/ 951472 w 3457677"/>
              <a:gd name="connsiteY5" fmla="*/ 37948 h 2535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457677" h="2535515">
                <a:moveTo>
                  <a:pt x="951472" y="37948"/>
                </a:moveTo>
                <a:cubicBezTo>
                  <a:pt x="425848" y="65940"/>
                  <a:pt x="60398" y="2181"/>
                  <a:pt x="9080" y="401842"/>
                </a:cubicBezTo>
                <a:cubicBezTo>
                  <a:pt x="-42238" y="801503"/>
                  <a:pt x="117937" y="2166883"/>
                  <a:pt x="643562" y="2435916"/>
                </a:cubicBezTo>
                <a:cubicBezTo>
                  <a:pt x="1169187" y="2704949"/>
                  <a:pt x="2742950" y="2383042"/>
                  <a:pt x="3162827" y="2016038"/>
                </a:cubicBezTo>
                <a:cubicBezTo>
                  <a:pt x="3582704" y="1649034"/>
                  <a:pt x="3528276" y="562017"/>
                  <a:pt x="3162827" y="233891"/>
                </a:cubicBezTo>
                <a:cubicBezTo>
                  <a:pt x="2797378" y="-94235"/>
                  <a:pt x="1477096" y="9956"/>
                  <a:pt x="951472" y="37948"/>
                </a:cubicBezTo>
                <a:close/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25592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ruta 2"/>
          <p:cNvSpPr txBox="1"/>
          <p:nvPr/>
        </p:nvSpPr>
        <p:spPr>
          <a:xfrm>
            <a:off x="1024932" y="2371411"/>
            <a:ext cx="8500905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4400" dirty="0" smtClean="0"/>
              <a:t>Tack för er tid och ert intresse! </a:t>
            </a:r>
          </a:p>
          <a:p>
            <a:endParaRPr lang="sv-SE" dirty="0"/>
          </a:p>
          <a:p>
            <a:r>
              <a:rPr lang="sv-SE" dirty="0">
                <a:hlinkClick r:id="rId2"/>
              </a:rPr>
              <a:t>https://www.lanseringvipsydostra.se/aktuellt</a:t>
            </a:r>
            <a:endParaRPr lang="sv-SE" dirty="0"/>
          </a:p>
          <a:p>
            <a:endParaRPr lang="sv-SE" dirty="0"/>
          </a:p>
        </p:txBody>
      </p:sp>
      <p:sp>
        <p:nvSpPr>
          <p:cNvPr id="4" name="Rektangel 3"/>
          <p:cNvSpPr/>
          <p:nvPr/>
        </p:nvSpPr>
        <p:spPr>
          <a:xfrm>
            <a:off x="3952913" y="3244334"/>
            <a:ext cx="42861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sv-SE">
                <a:hlinkClick r:id="rId2"/>
              </a:rPr>
              <a:t>https://www.lanseringvipsydostra.se/aktuell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8079104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 smtClean="0"/>
              <a:t>GAP analys regioner: Sammanhållen hälso- och sjukvård  </a:t>
            </a:r>
            <a:endParaRPr lang="sv-SE" sz="32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v-SE" sz="1600" dirty="0" smtClean="0"/>
              <a:t>Erbjuder </a:t>
            </a:r>
            <a:r>
              <a:rPr lang="sv-SE" sz="1600" dirty="0"/>
              <a:t>vi utredning, insatser och uppföljning till barn av ett team till barn </a:t>
            </a:r>
            <a:r>
              <a:rPr lang="sv-SE" sz="1600" dirty="0" smtClean="0"/>
              <a:t>och vuxna med </a:t>
            </a:r>
            <a:r>
              <a:rPr lang="sv-SE" sz="1600" dirty="0"/>
              <a:t>ADHD?  </a:t>
            </a:r>
          </a:p>
          <a:p>
            <a:endParaRPr lang="sv-SE" sz="1600" dirty="0"/>
          </a:p>
          <a:p>
            <a:r>
              <a:rPr lang="sv-SE" sz="1600" dirty="0" smtClean="0"/>
              <a:t>Erbjuder vi utredning, insatser och uppföljning till barn av ett team till barn och vuxna med autism?  </a:t>
            </a:r>
          </a:p>
          <a:p>
            <a:endParaRPr lang="sv-SE" sz="1600" dirty="0" smtClean="0"/>
          </a:p>
          <a:p>
            <a:endParaRPr lang="sv-SE" sz="1600" dirty="0"/>
          </a:p>
          <a:p>
            <a:endParaRPr lang="sv-SE" sz="1600" dirty="0"/>
          </a:p>
        </p:txBody>
      </p:sp>
    </p:spTree>
    <p:extLst>
      <p:ext uri="{BB962C8B-B14F-4D97-AF65-F5344CB8AC3E}">
        <p14:creationId xmlns:p14="http://schemas.microsoft.com/office/powerpoint/2010/main" val="3883389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 smtClean="0"/>
              <a:t>GAP analys regioner: Sammanhållen hälso- och sjukvård  </a:t>
            </a:r>
            <a:endParaRPr lang="sv-SE" sz="32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v-SE" sz="1600" dirty="0" smtClean="0"/>
              <a:t>Erbjuder vi sammanhållen bedömning, diagnostik, insatser och uppföljning till barn och vuxna med ADHD? </a:t>
            </a:r>
          </a:p>
          <a:p>
            <a:endParaRPr lang="sv-SE" sz="1600" dirty="0"/>
          </a:p>
          <a:p>
            <a:endParaRPr lang="sv-SE" sz="1600" dirty="0"/>
          </a:p>
          <a:p>
            <a:r>
              <a:rPr lang="sv-SE" sz="1600" dirty="0" smtClean="0"/>
              <a:t>Erbjuder </a:t>
            </a:r>
            <a:r>
              <a:rPr lang="sv-SE" sz="1600" dirty="0"/>
              <a:t>vi sammanhållen bedömning, diagnostik, insatser och uppföljning till barn och vuxna </a:t>
            </a:r>
            <a:r>
              <a:rPr lang="sv-SE" sz="1600" dirty="0" smtClean="0"/>
              <a:t>med </a:t>
            </a:r>
            <a:r>
              <a:rPr lang="sv-SE" sz="1600" dirty="0"/>
              <a:t>autism? </a:t>
            </a:r>
          </a:p>
          <a:p>
            <a:endParaRPr lang="sv-SE" sz="1600" dirty="0"/>
          </a:p>
          <a:p>
            <a:endParaRPr lang="sv-SE" sz="1600" dirty="0"/>
          </a:p>
          <a:p>
            <a:endParaRPr lang="sv-SE" sz="1600" dirty="0"/>
          </a:p>
        </p:txBody>
      </p:sp>
    </p:spTree>
    <p:extLst>
      <p:ext uri="{BB962C8B-B14F-4D97-AF65-F5344CB8AC3E}">
        <p14:creationId xmlns:p14="http://schemas.microsoft.com/office/powerpoint/2010/main" val="1027627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 smtClean="0"/>
              <a:t>GAP analys regioner: Sammanhållen hälso- och sjukvård  </a:t>
            </a:r>
            <a:endParaRPr lang="sv-SE" sz="32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v-SE" sz="1600" dirty="0" smtClean="0"/>
              <a:t>Erbjuder vi strukturerad och regelbunden uppföljning av hälso- och sjukvårdsinsatser till barn och vuxna med ADHD? </a:t>
            </a:r>
          </a:p>
          <a:p>
            <a:endParaRPr lang="sv-SE" sz="1600" dirty="0"/>
          </a:p>
          <a:p>
            <a:r>
              <a:rPr lang="sv-SE" sz="1600" dirty="0"/>
              <a:t>Erbjuder vi strukturerad och regelbunden uppföljning av hälso- och sjukvårdsinsatser till barn </a:t>
            </a:r>
            <a:r>
              <a:rPr lang="sv-SE" sz="1600" dirty="0" smtClean="0"/>
              <a:t>och vuxna med autism? </a:t>
            </a:r>
            <a:endParaRPr lang="sv-SE" sz="1600" dirty="0"/>
          </a:p>
          <a:p>
            <a:endParaRPr lang="sv-SE" sz="1600" dirty="0"/>
          </a:p>
        </p:txBody>
      </p:sp>
    </p:spTree>
    <p:extLst>
      <p:ext uri="{BB962C8B-B14F-4D97-AF65-F5344CB8AC3E}">
        <p14:creationId xmlns:p14="http://schemas.microsoft.com/office/powerpoint/2010/main" val="595789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ctr"/>
            <a:r>
              <a:rPr lang="sv-SE" sz="7200" dirty="0" smtClean="0"/>
              <a:t>Kort paus </a:t>
            </a:r>
            <a:endParaRPr lang="sv-SE" sz="7200" dirty="0"/>
          </a:p>
          <a:p>
            <a:pPr algn="ctr"/>
            <a:r>
              <a:rPr lang="sv-SE" sz="3600" dirty="0">
                <a:hlinkClick r:id="rId2"/>
              </a:rPr>
              <a:t>https://www.lanseringvipsydostra.se/aktuellt</a:t>
            </a:r>
            <a:endParaRPr lang="sv-SE" sz="3600" dirty="0"/>
          </a:p>
        </p:txBody>
      </p:sp>
    </p:spTree>
    <p:extLst>
      <p:ext uri="{BB962C8B-B14F-4D97-AF65-F5344CB8AC3E}">
        <p14:creationId xmlns:p14="http://schemas.microsoft.com/office/powerpoint/2010/main" val="473145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heme/theme1.xml><?xml version="1.0" encoding="utf-8"?>
<a:theme xmlns:a="http://schemas.openxmlformats.org/drawingml/2006/main" name="1_Office-tema">
  <a:themeElements>
    <a:clrScheme name="Anpassat 7">
      <a:dk1>
        <a:srgbClr val="363636"/>
      </a:dk1>
      <a:lt1>
        <a:srgbClr val="FFFFFF"/>
      </a:lt1>
      <a:dk2>
        <a:srgbClr val="0066B3"/>
      </a:dk2>
      <a:lt2>
        <a:srgbClr val="EF4044"/>
      </a:lt2>
      <a:accent1>
        <a:srgbClr val="0066B3"/>
      </a:accent1>
      <a:accent2>
        <a:srgbClr val="BC151C"/>
      </a:accent2>
      <a:accent3>
        <a:srgbClr val="EF4044"/>
      </a:accent3>
      <a:accent4>
        <a:srgbClr val="F2CF68"/>
      </a:accent4>
      <a:accent5>
        <a:srgbClr val="F2CD13"/>
      </a:accent5>
      <a:accent6>
        <a:srgbClr val="BFBFBF"/>
      </a:accent6>
      <a:hlink>
        <a:srgbClr val="0066B3"/>
      </a:hlink>
      <a:folHlink>
        <a:srgbClr val="0066B3"/>
      </a:folHlink>
    </a:clrScheme>
    <a:fontScheme name="Office - klassiskt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079</TotalTime>
  <Words>2586</Words>
  <Application>Microsoft Office PowerPoint</Application>
  <PresentationFormat>Bredbild</PresentationFormat>
  <Paragraphs>400</Paragraphs>
  <Slides>58</Slides>
  <Notes>35</Notes>
  <HiddenSlides>0</HiddenSlides>
  <MMClips>0</MMClips>
  <ScaleCrop>false</ScaleCrop>
  <HeadingPairs>
    <vt:vector size="8" baseType="variant">
      <vt:variant>
        <vt:lpstr>Använt teckensnitt</vt:lpstr>
      </vt:variant>
      <vt:variant>
        <vt:i4>4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58</vt:i4>
      </vt:variant>
    </vt:vector>
  </HeadingPairs>
  <TitlesOfParts>
    <vt:vector size="64" baseType="lpstr">
      <vt:lpstr>Arial</vt:lpstr>
      <vt:lpstr>Calibri</vt:lpstr>
      <vt:lpstr>Times New Roman</vt:lpstr>
      <vt:lpstr>Verdana</vt:lpstr>
      <vt:lpstr>1_Office-tema</vt:lpstr>
      <vt:lpstr>think-cell Slide</vt:lpstr>
      <vt:lpstr>Sjukvårdsregionalt kunskapsseminarium  Nationella riktlinjer ADHD &amp; Autism  Jörgen Bergström - processtödjande roll gentemot RPO psykisk hälsa Jenny Olofsson - processtödjande roll gentemot RPO psykisk hälsa   </vt:lpstr>
      <vt:lpstr>PowerPoint-presentation</vt:lpstr>
      <vt:lpstr>Nästan filmpremiär…</vt:lpstr>
      <vt:lpstr>Antal unika individer som fått diagnos registrerad per angivet år. Utsökt på huvud/bidiagnos</vt:lpstr>
      <vt:lpstr>Antal unika individer som fått diagnos registrerad per angivet år. Utsökt på huvud/bidiagnos</vt:lpstr>
      <vt:lpstr>GAP analys regioner: Sammanhållen hälso- och sjukvård  </vt:lpstr>
      <vt:lpstr>GAP analys regioner: Sammanhållen hälso- och sjukvård  </vt:lpstr>
      <vt:lpstr>GAP analys regioner: Sammanhållen hälso- och sjukvård  </vt:lpstr>
      <vt:lpstr>PowerPoint-presentation</vt:lpstr>
      <vt:lpstr>GAP analys regioner: Tidiga insatser och neuropsykiatriska utredningar </vt:lpstr>
      <vt:lpstr>GAP analys regioner: Tidiga insatser och neuropsykiatriska utredningar </vt:lpstr>
      <vt:lpstr>GAP analys socialtjänst: Tidiga insatser och neuropsykiatriska utredningar </vt:lpstr>
      <vt:lpstr>GAP analys regioner: Tidiga insatser och neuropsykiatriska utredningar </vt:lpstr>
      <vt:lpstr>GAP analys regioner: Effektiv samverkan</vt:lpstr>
      <vt:lpstr>GAP analys regioner: Effektiv samverkan</vt:lpstr>
      <vt:lpstr>GAP analys socialtjänst: Effektiv samverkan</vt:lpstr>
      <vt:lpstr>GAP analys regioner: Effektiv samverkan</vt:lpstr>
      <vt:lpstr>GAP analys regioner: Effektiv samverkan</vt:lpstr>
      <vt:lpstr>GAP analys kommuner: Effektiv samverkan</vt:lpstr>
      <vt:lpstr>GAP analys regioner: Kompetensutveckling </vt:lpstr>
      <vt:lpstr>GAP analys socialtjänst: Kompetensutveckling </vt:lpstr>
      <vt:lpstr>GAP analys elevhälsa: Kompetensutveckling </vt:lpstr>
      <vt:lpstr>GAP analys regioner – barnhälsovård: Kompetensutveckling </vt:lpstr>
      <vt:lpstr>GAP analys regioner:  Kompetensutveckling </vt:lpstr>
      <vt:lpstr>PowerPoint-presentation</vt:lpstr>
      <vt:lpstr>GAP analys regioner:  Psykosociala insatser och kognitivt stöd   </vt:lpstr>
      <vt:lpstr>GAP analys socialtjänst:  Psykosociala insatser och kognitivt stöd   </vt:lpstr>
      <vt:lpstr>GAP analys elevhälsa:  Psykosociala insatser och kognitivt stöd   </vt:lpstr>
      <vt:lpstr>GAP analys region:  Psykosociala insatser och kognitivt stöd   </vt:lpstr>
      <vt:lpstr>GAP analys socialtjänst:  Psykosociala insatser och kognitivt stöd   </vt:lpstr>
      <vt:lpstr>GAP analys region:  Psykosociala insatser och kognitivt stöd   </vt:lpstr>
      <vt:lpstr>GAP analys socialtjänst:  Psykosociala insatser och kognitivt stöd   </vt:lpstr>
      <vt:lpstr>GAP analys region:  Psykosociala insatser och kognitivt stöd   </vt:lpstr>
      <vt:lpstr>GAP analys region:  Psykosociala insatser och kognitivt stöd   </vt:lpstr>
      <vt:lpstr>GAP analys socialtjänst:  Psykosociala insatser och kognitivt stöd   </vt:lpstr>
      <vt:lpstr>GAP analys socialtjänst:  Psykosociala insatser och kognitivt stöd </vt:lpstr>
      <vt:lpstr>GAP analys region:  Psykologiska insatser </vt:lpstr>
      <vt:lpstr>GAP analys region:  Psykologiska insatser </vt:lpstr>
      <vt:lpstr>GAP analys region:  Psykologiska insatser </vt:lpstr>
      <vt:lpstr>GAP analys region:  Psykologiska insatser </vt:lpstr>
      <vt:lpstr>GAP analys region:  Psykologiska insatser </vt:lpstr>
      <vt:lpstr>GAP analys elevhälsa:  Psykologiska insatser </vt:lpstr>
      <vt:lpstr>GAP analys region:  Psykologiska insatser </vt:lpstr>
      <vt:lpstr>GAP analys region:  Psykologiska insatser </vt:lpstr>
      <vt:lpstr>Läkemedel och medicintekniska produkter </vt:lpstr>
      <vt:lpstr>PowerPoint-presentation</vt:lpstr>
      <vt:lpstr>PowerPoint-presentation</vt:lpstr>
      <vt:lpstr>GAP analys region:  Läkemedel och medicintekniska produkter </vt:lpstr>
      <vt:lpstr>GAP analys region:  Läkemedel och medicintekniska produkter </vt:lpstr>
      <vt:lpstr>GAP analys region:  Läkemedel och medicintekniska produkter </vt:lpstr>
      <vt:lpstr>GAP analys region:  Läkemedel och medicintekniska produkter </vt:lpstr>
      <vt:lpstr>GAP analys region:  Läkemedel och medicintekniska produkter </vt:lpstr>
      <vt:lpstr>GAP analys region:  Läkemedel och medicintekniska produkter </vt:lpstr>
      <vt:lpstr>GAP analys region:  Läkemedel och medicintekniska produkter </vt:lpstr>
      <vt:lpstr>GAP analys socialtjänst:  Läkemedel och medicintekniska produkter </vt:lpstr>
      <vt:lpstr>PowerPoint-presentation</vt:lpstr>
      <vt:lpstr>PowerPoint-presentation</vt:lpstr>
      <vt:lpstr>PowerPoint-presentation</vt:lpstr>
    </vt:vector>
  </TitlesOfParts>
  <Company>Region Jönköpings lä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ommun RPO – 11 maj</dc:title>
  <dc:creator>Olofsson Jenny</dc:creator>
  <cp:lastModifiedBy>Olofsson Jenny</cp:lastModifiedBy>
  <cp:revision>227</cp:revision>
  <dcterms:created xsi:type="dcterms:W3CDTF">2021-05-11T11:08:30Z</dcterms:created>
  <dcterms:modified xsi:type="dcterms:W3CDTF">2022-11-07T13:50:12Z</dcterms:modified>
</cp:coreProperties>
</file>